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144_96C4AA9C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6"/>
  </p:notesMasterIdLst>
  <p:handoutMasterIdLst>
    <p:handoutMasterId r:id="rId67"/>
  </p:handoutMasterIdLst>
  <p:sldIdLst>
    <p:sldId id="257" r:id="rId2"/>
    <p:sldId id="291" r:id="rId3"/>
    <p:sldId id="323" r:id="rId4"/>
    <p:sldId id="382" r:id="rId5"/>
    <p:sldId id="392" r:id="rId6"/>
    <p:sldId id="393" r:id="rId7"/>
    <p:sldId id="394" r:id="rId8"/>
    <p:sldId id="384" r:id="rId9"/>
    <p:sldId id="388" r:id="rId10"/>
    <p:sldId id="386" r:id="rId11"/>
    <p:sldId id="335" r:id="rId12"/>
    <p:sldId id="395" r:id="rId13"/>
    <p:sldId id="421" r:id="rId14"/>
    <p:sldId id="362" r:id="rId15"/>
    <p:sldId id="364" r:id="rId16"/>
    <p:sldId id="365" r:id="rId17"/>
    <p:sldId id="402" r:id="rId18"/>
    <p:sldId id="403" r:id="rId19"/>
    <p:sldId id="404" r:id="rId20"/>
    <p:sldId id="405" r:id="rId21"/>
    <p:sldId id="406" r:id="rId22"/>
    <p:sldId id="407" r:id="rId23"/>
    <p:sldId id="410" r:id="rId24"/>
    <p:sldId id="411" r:id="rId25"/>
    <p:sldId id="412" r:id="rId26"/>
    <p:sldId id="413" r:id="rId27"/>
    <p:sldId id="414" r:id="rId28"/>
    <p:sldId id="415" r:id="rId29"/>
    <p:sldId id="370" r:id="rId30"/>
    <p:sldId id="371" r:id="rId31"/>
    <p:sldId id="351" r:id="rId32"/>
    <p:sldId id="369" r:id="rId33"/>
    <p:sldId id="372" r:id="rId34"/>
    <p:sldId id="373" r:id="rId35"/>
    <p:sldId id="374" r:id="rId36"/>
    <p:sldId id="375" r:id="rId37"/>
    <p:sldId id="416" r:id="rId38"/>
    <p:sldId id="417" r:id="rId39"/>
    <p:sldId id="418" r:id="rId40"/>
    <p:sldId id="350" r:id="rId41"/>
    <p:sldId id="396" r:id="rId42"/>
    <p:sldId id="347" r:id="rId43"/>
    <p:sldId id="398" r:id="rId44"/>
    <p:sldId id="328" r:id="rId45"/>
    <p:sldId id="420" r:id="rId46"/>
    <p:sldId id="385" r:id="rId47"/>
    <p:sldId id="320" r:id="rId48"/>
    <p:sldId id="324" r:id="rId49"/>
    <p:sldId id="312" r:id="rId50"/>
    <p:sldId id="321" r:id="rId51"/>
    <p:sldId id="287" r:id="rId52"/>
    <p:sldId id="292" r:id="rId53"/>
    <p:sldId id="339" r:id="rId54"/>
    <p:sldId id="317" r:id="rId55"/>
    <p:sldId id="330" r:id="rId56"/>
    <p:sldId id="329" r:id="rId57"/>
    <p:sldId id="327" r:id="rId58"/>
    <p:sldId id="331" r:id="rId59"/>
    <p:sldId id="338" r:id="rId60"/>
    <p:sldId id="337" r:id="rId61"/>
    <p:sldId id="399" r:id="rId62"/>
    <p:sldId id="363" r:id="rId63"/>
    <p:sldId id="408" r:id="rId64"/>
    <p:sldId id="419" r:id="rId65"/>
  </p:sldIdLst>
  <p:sldSz cx="9144000" cy="5143500" type="screen16x9"/>
  <p:notesSz cx="6858000" cy="9144000"/>
  <p:custDataLst>
    <p:tags r:id="rId6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35">
          <p15:clr>
            <a:srgbClr val="A4A3A4"/>
          </p15:clr>
        </p15:guide>
        <p15:guide id="2" orient="horz" pos="690">
          <p15:clr>
            <a:srgbClr val="A4A3A4"/>
          </p15:clr>
        </p15:guide>
        <p15:guide id="3" pos="158">
          <p15:clr>
            <a:srgbClr val="A4A3A4"/>
          </p15:clr>
        </p15:guide>
        <p15:guide id="4" pos="5602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D369B98-24F9-6F7C-6519-4B7C7CA33E20}" name="Agfirat, Erdem" initials="EA" userId="S::A1106652@arcelormittal.de::5f993eeb-efa8-4544-afca-7dcebdf0c2b8" providerId="AD"/>
  <p188:author id="{3E6BBDE6-74FE-C87C-1133-4830E1B37258}" name="Erdem Agfirat" initials="EA" userId="3def093e706752c9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58C"/>
    <a:srgbClr val="012955"/>
    <a:srgbClr val="407A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7DB60E-1B3D-42D4-B74C-4D570F98FE08}" v="5" dt="2025-02-20T11:53:34.683"/>
  </p1510:revLst>
</p1510:revInfo>
</file>

<file path=ppt/tableStyles.xml><?xml version="1.0" encoding="utf-8"?>
<a:tblStyleLst xmlns:a="http://schemas.openxmlformats.org/drawingml/2006/main" def="{5C22544A-7EE6-4342-B048-85BDC9FD1C3A}"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6" d="100"/>
          <a:sy n="76" d="100"/>
        </p:scale>
        <p:origin x="168" y="1074"/>
      </p:cViewPr>
      <p:guideLst>
        <p:guide orient="horz" pos="2935"/>
        <p:guide orient="horz" pos="690"/>
        <p:guide pos="158"/>
        <p:guide pos="5602"/>
        <p:guide pos="2812"/>
        <p:guide pos="29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74" Type="http://schemas.microsoft.com/office/2015/10/relationships/revisionInfo" Target="revisionInfo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Relationship Id="rId75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dem Agfirat" userId="3def093e706752c9" providerId="Windows Live" clId="Web-{62F0219C-B085-46B6-AA14-345CB5FD8B21}"/>
    <pc:docChg chg="modSld">
      <pc:chgData name="Erdem Agfirat" userId="3def093e706752c9" providerId="Windows Live" clId="Web-{62F0219C-B085-46B6-AA14-345CB5FD8B21}" dt="2025-02-08T13:29:04.689" v="125" actId="20577"/>
      <pc:docMkLst>
        <pc:docMk/>
      </pc:docMkLst>
      <pc:sldChg chg="modSp">
        <pc:chgData name="Erdem Agfirat" userId="3def093e706752c9" providerId="Windows Live" clId="Web-{62F0219C-B085-46B6-AA14-345CB5FD8B21}" dt="2025-02-08T13:27:02.055" v="89" actId="20577"/>
        <pc:sldMkLst>
          <pc:docMk/>
          <pc:sldMk cId="1568747828" sldId="325"/>
        </pc:sldMkLst>
        <pc:spChg chg="mod">
          <ac:chgData name="Erdem Agfirat" userId="3def093e706752c9" providerId="Windows Live" clId="Web-{62F0219C-B085-46B6-AA14-345CB5FD8B21}" dt="2025-02-08T13:27:02.055" v="89" actId="20577"/>
          <ac:spMkLst>
            <pc:docMk/>
            <pc:sldMk cId="1568747828" sldId="325"/>
            <ac:spMk id="5" creationId="{4C866BDF-37D4-CC40-25FD-7B73A7AA7524}"/>
          </ac:spMkLst>
        </pc:spChg>
      </pc:sldChg>
      <pc:sldChg chg="addSp modSp">
        <pc:chgData name="Erdem Agfirat" userId="3def093e706752c9" providerId="Windows Live" clId="Web-{62F0219C-B085-46B6-AA14-345CB5FD8B21}" dt="2025-02-08T13:21:39.284" v="24" actId="1076"/>
        <pc:sldMkLst>
          <pc:docMk/>
          <pc:sldMk cId="2899606391" sldId="356"/>
        </pc:sldMkLst>
      </pc:sldChg>
      <pc:sldChg chg="addSp modSp">
        <pc:chgData name="Erdem Agfirat" userId="3def093e706752c9" providerId="Windows Live" clId="Web-{62F0219C-B085-46B6-AA14-345CB5FD8B21}" dt="2025-02-08T13:25:32.284" v="78" actId="20577"/>
        <pc:sldMkLst>
          <pc:docMk/>
          <pc:sldMk cId="3752208976" sldId="382"/>
        </pc:sldMkLst>
        <pc:spChg chg="mod">
          <ac:chgData name="Erdem Agfirat" userId="3def093e706752c9" providerId="Windows Live" clId="Web-{62F0219C-B085-46B6-AA14-345CB5FD8B21}" dt="2025-02-08T13:25:32.284" v="78" actId="20577"/>
          <ac:spMkLst>
            <pc:docMk/>
            <pc:sldMk cId="3752208976" sldId="382"/>
            <ac:spMk id="5" creationId="{2276D27E-3D37-A4BC-7CE8-720993DC6F5D}"/>
          </ac:spMkLst>
        </pc:spChg>
      </pc:sldChg>
      <pc:sldChg chg="modSp">
        <pc:chgData name="Erdem Agfirat" userId="3def093e706752c9" providerId="Windows Live" clId="Web-{62F0219C-B085-46B6-AA14-345CB5FD8B21}" dt="2025-02-08T13:21:48.456" v="60" actId="20577"/>
        <pc:sldMkLst>
          <pc:docMk/>
          <pc:sldMk cId="2608332507" sldId="384"/>
        </pc:sldMkLst>
        <pc:spChg chg="mod">
          <ac:chgData name="Erdem Agfirat" userId="3def093e706752c9" providerId="Windows Live" clId="Web-{62F0219C-B085-46B6-AA14-345CB5FD8B21}" dt="2025-02-08T13:21:48.456" v="60" actId="20577"/>
          <ac:spMkLst>
            <pc:docMk/>
            <pc:sldMk cId="2608332507" sldId="384"/>
            <ac:spMk id="5" creationId="{646B2BC5-DCCF-7A57-EA09-75A5F36DEFFA}"/>
          </ac:spMkLst>
        </pc:spChg>
      </pc:sldChg>
      <pc:sldChg chg="modSp">
        <pc:chgData name="Erdem Agfirat" userId="3def093e706752c9" providerId="Windows Live" clId="Web-{62F0219C-B085-46B6-AA14-345CB5FD8B21}" dt="2025-02-08T13:05:23.905" v="15" actId="20577"/>
        <pc:sldMkLst>
          <pc:docMk/>
          <pc:sldMk cId="2440610122" sldId="385"/>
        </pc:sldMkLst>
        <pc:spChg chg="mod">
          <ac:chgData name="Erdem Agfirat" userId="3def093e706752c9" providerId="Windows Live" clId="Web-{62F0219C-B085-46B6-AA14-345CB5FD8B21}" dt="2025-02-08T13:05:23.905" v="15" actId="20577"/>
          <ac:spMkLst>
            <pc:docMk/>
            <pc:sldMk cId="2440610122" sldId="385"/>
            <ac:spMk id="5" creationId="{7989EF13-63BE-3CFA-901B-887AA4015788}"/>
          </ac:spMkLst>
        </pc:spChg>
      </pc:sldChg>
      <pc:sldChg chg="modSp">
        <pc:chgData name="Erdem Agfirat" userId="3def093e706752c9" providerId="Windows Live" clId="Web-{62F0219C-B085-46B6-AA14-345CB5FD8B21}" dt="2025-02-08T13:29:04.689" v="125" actId="20577"/>
        <pc:sldMkLst>
          <pc:docMk/>
          <pc:sldMk cId="233492374" sldId="387"/>
        </pc:sldMkLst>
      </pc:sldChg>
    </pc:docChg>
  </pc:docChgLst>
  <pc:docChgLst>
    <pc:chgData name="Erdem Agfirat" userId="3def093e706752c9" providerId="Windows Live" clId="Web-{3CF4C652-4508-4F17-8AF5-0929566EB56D}"/>
    <pc:docChg chg="modSld">
      <pc:chgData name="Erdem Agfirat" userId="3def093e706752c9" providerId="Windows Live" clId="Web-{3CF4C652-4508-4F17-8AF5-0929566EB56D}" dt="2025-02-11T14:23:02.645" v="5"/>
      <pc:docMkLst>
        <pc:docMk/>
      </pc:docMkLst>
      <pc:sldChg chg="addSp delSp modSp">
        <pc:chgData name="Erdem Agfirat" userId="3def093e706752c9" providerId="Windows Live" clId="Web-{3CF4C652-4508-4F17-8AF5-0929566EB56D}" dt="2025-02-11T14:23:02.645" v="5"/>
        <pc:sldMkLst>
          <pc:docMk/>
          <pc:sldMk cId="3752208976" sldId="382"/>
        </pc:sldMkLst>
      </pc:sldChg>
      <pc:sldChg chg="modSp">
        <pc:chgData name="Erdem Agfirat" userId="3def093e706752c9" providerId="Windows Live" clId="Web-{3CF4C652-4508-4F17-8AF5-0929566EB56D}" dt="2025-02-11T12:24:08.739" v="1" actId="20577"/>
        <pc:sldMkLst>
          <pc:docMk/>
          <pc:sldMk cId="1700137246" sldId="390"/>
        </pc:sldMkLst>
        <pc:spChg chg="mod">
          <ac:chgData name="Erdem Agfirat" userId="3def093e706752c9" providerId="Windows Live" clId="Web-{3CF4C652-4508-4F17-8AF5-0929566EB56D}" dt="2025-02-11T12:24:08.739" v="1" actId="20577"/>
          <ac:spMkLst>
            <pc:docMk/>
            <pc:sldMk cId="1700137246" sldId="390"/>
            <ac:spMk id="6" creationId="{8E84FF58-466C-A274-693E-6EFCADEACF79}"/>
          </ac:spMkLst>
        </pc:spChg>
      </pc:sldChg>
    </pc:docChg>
  </pc:docChgLst>
  <pc:docChgLst>
    <pc:chgData name="Erdem Agfirat" userId="3def093e706752c9" providerId="Windows Live" clId="Web-{BE7FC819-1E91-4ED5-8497-41BD9D9C0C1D}"/>
    <pc:docChg chg="modSld">
      <pc:chgData name="Erdem Agfirat" userId="3def093e706752c9" providerId="Windows Live" clId="Web-{BE7FC819-1E91-4ED5-8497-41BD9D9C0C1D}" dt="2025-02-06T18:56:01.245" v="6" actId="1076"/>
      <pc:docMkLst>
        <pc:docMk/>
      </pc:docMkLst>
      <pc:sldChg chg="delSp modSp">
        <pc:chgData name="Erdem Agfirat" userId="3def093e706752c9" providerId="Windows Live" clId="Web-{BE7FC819-1E91-4ED5-8497-41BD9D9C0C1D}" dt="2025-02-06T18:55:51.245" v="4" actId="1076"/>
        <pc:sldMkLst>
          <pc:docMk/>
          <pc:sldMk cId="2899606391" sldId="356"/>
        </pc:sldMkLst>
      </pc:sldChg>
      <pc:sldChg chg="modSp">
        <pc:chgData name="Erdem Agfirat" userId="3def093e706752c9" providerId="Windows Live" clId="Web-{BE7FC819-1E91-4ED5-8497-41BD9D9C0C1D}" dt="2025-02-06T18:56:01.245" v="6" actId="1076"/>
        <pc:sldMkLst>
          <pc:docMk/>
          <pc:sldMk cId="2608332507" sldId="384"/>
        </pc:sldMkLst>
        <pc:picChg chg="mod">
          <ac:chgData name="Erdem Agfirat" userId="3def093e706752c9" providerId="Windows Live" clId="Web-{BE7FC819-1E91-4ED5-8497-41BD9D9C0C1D}" dt="2025-02-06T18:55:59.776" v="5" actId="1076"/>
          <ac:picMkLst>
            <pc:docMk/>
            <pc:sldMk cId="2608332507" sldId="384"/>
            <ac:picMk id="7" creationId="{64CC3305-24BB-B17C-A12D-1931C0B641CE}"/>
          </ac:picMkLst>
        </pc:picChg>
      </pc:sldChg>
    </pc:docChg>
  </pc:docChgLst>
  <pc:docChgLst>
    <pc:chgData name="Mustafa Alkaya" userId="aacbf56ada369191" providerId="Windows Live" clId="Web-{DB02E2BB-9B18-4791-B76F-0AEE72FD5131}"/>
    <pc:docChg chg="modSld">
      <pc:chgData name="Mustafa Alkaya" userId="aacbf56ada369191" providerId="Windows Live" clId="Web-{DB02E2BB-9B18-4791-B76F-0AEE72FD5131}" dt="2025-02-11T09:22:57.067" v="10" actId="20577"/>
      <pc:docMkLst>
        <pc:docMk/>
      </pc:docMkLst>
      <pc:sldChg chg="modSp">
        <pc:chgData name="Mustafa Alkaya" userId="aacbf56ada369191" providerId="Windows Live" clId="Web-{DB02E2BB-9B18-4791-B76F-0AEE72FD5131}" dt="2025-02-11T09:22:57.067" v="10" actId="20577"/>
        <pc:sldMkLst>
          <pc:docMk/>
          <pc:sldMk cId="435471241" sldId="323"/>
        </pc:sldMkLst>
        <pc:spChg chg="mod">
          <ac:chgData name="Mustafa Alkaya" userId="aacbf56ada369191" providerId="Windows Live" clId="Web-{DB02E2BB-9B18-4791-B76F-0AEE72FD5131}" dt="2025-02-11T09:21:37.861" v="2" actId="20577"/>
          <ac:spMkLst>
            <pc:docMk/>
            <pc:sldMk cId="435471241" sldId="323"/>
            <ac:spMk id="61" creationId="{9528340C-2547-8E75-0DB9-04357CF2CEC2}"/>
          </ac:spMkLst>
        </pc:spChg>
        <pc:spChg chg="mod">
          <ac:chgData name="Mustafa Alkaya" userId="aacbf56ada369191" providerId="Windows Live" clId="Web-{DB02E2BB-9B18-4791-B76F-0AEE72FD5131}" dt="2025-02-11T09:21:57.674" v="4" actId="20577"/>
          <ac:spMkLst>
            <pc:docMk/>
            <pc:sldMk cId="435471241" sldId="323"/>
            <ac:spMk id="67" creationId="{E4888A92-CF22-148E-2C31-0CCB8C2D9AC7}"/>
          </ac:spMkLst>
        </pc:spChg>
        <pc:spChg chg="mod">
          <ac:chgData name="Mustafa Alkaya" userId="aacbf56ada369191" providerId="Windows Live" clId="Web-{DB02E2BB-9B18-4791-B76F-0AEE72FD5131}" dt="2025-02-11T09:22:57.067" v="10" actId="20577"/>
          <ac:spMkLst>
            <pc:docMk/>
            <pc:sldMk cId="435471241" sldId="323"/>
            <ac:spMk id="68" creationId="{D0D9E900-AB9F-21A9-6C15-42A740146001}"/>
          </ac:spMkLst>
        </pc:spChg>
        <pc:spChg chg="mod">
          <ac:chgData name="Mustafa Alkaya" userId="aacbf56ada369191" providerId="Windows Live" clId="Web-{DB02E2BB-9B18-4791-B76F-0AEE72FD5131}" dt="2025-02-11T09:22:15.175" v="8" actId="20577"/>
          <ac:spMkLst>
            <pc:docMk/>
            <pc:sldMk cId="435471241" sldId="323"/>
            <ac:spMk id="70" creationId="{F89E0067-88AA-E89E-3F17-BD88C3697FD3}"/>
          </ac:spMkLst>
        </pc:spChg>
      </pc:sldChg>
    </pc:docChg>
  </pc:docChgLst>
  <pc:docChgLst>
    <pc:chgData name="Mustafa Alkaya" userId="aacbf56ada369191" providerId="Windows Live" clId="Web-{85B5E5E5-18BF-418B-9DBF-11F08597C344}"/>
    <pc:docChg chg="addSld delSld modSld">
      <pc:chgData name="Mustafa Alkaya" userId="aacbf56ada369191" providerId="Windows Live" clId="Web-{85B5E5E5-18BF-418B-9DBF-11F08597C344}" dt="2025-02-08T19:09:15.041" v="436"/>
      <pc:docMkLst>
        <pc:docMk/>
      </pc:docMkLst>
      <pc:sldChg chg="modSp del">
        <pc:chgData name="Mustafa Alkaya" userId="aacbf56ada369191" providerId="Windows Live" clId="Web-{85B5E5E5-18BF-418B-9DBF-11F08597C344}" dt="2025-02-08T19:09:15.041" v="436"/>
        <pc:sldMkLst>
          <pc:docMk/>
          <pc:sldMk cId="731658482" sldId="352"/>
        </pc:sldMkLst>
      </pc:sldChg>
      <pc:sldChg chg="addSp delSp modSp">
        <pc:chgData name="Mustafa Alkaya" userId="aacbf56ada369191" providerId="Windows Live" clId="Web-{85B5E5E5-18BF-418B-9DBF-11F08597C344}" dt="2025-02-08T18:24:27.365" v="276"/>
        <pc:sldMkLst>
          <pc:docMk/>
          <pc:sldMk cId="305887204" sldId="373"/>
        </pc:sldMkLst>
      </pc:sldChg>
      <pc:sldChg chg="addSp modSp">
        <pc:chgData name="Mustafa Alkaya" userId="aacbf56ada369191" providerId="Windows Live" clId="Web-{85B5E5E5-18BF-418B-9DBF-11F08597C344}" dt="2025-02-08T17:57:25.559" v="134" actId="20577"/>
        <pc:sldMkLst>
          <pc:docMk/>
          <pc:sldMk cId="1150651287" sldId="389"/>
        </pc:sldMkLst>
        <pc:spChg chg="mod">
          <ac:chgData name="Mustafa Alkaya" userId="aacbf56ada369191" providerId="Windows Live" clId="Web-{85B5E5E5-18BF-418B-9DBF-11F08597C344}" dt="2025-02-08T17:51:33.893" v="55" actId="20577"/>
          <ac:spMkLst>
            <pc:docMk/>
            <pc:sldMk cId="1150651287" sldId="389"/>
            <ac:spMk id="5" creationId="{A4F666A0-111C-11DE-1A4C-8E77498305DF}"/>
          </ac:spMkLst>
        </pc:spChg>
        <pc:spChg chg="mod">
          <ac:chgData name="Mustafa Alkaya" userId="aacbf56ada369191" providerId="Windows Live" clId="Web-{85B5E5E5-18BF-418B-9DBF-11F08597C344}" dt="2025-02-08T17:57:22.277" v="133" actId="20577"/>
          <ac:spMkLst>
            <pc:docMk/>
            <pc:sldMk cId="1150651287" sldId="389"/>
            <ac:spMk id="6" creationId="{5C0038C3-B37E-5857-5161-1F3B46222C85}"/>
          </ac:spMkLst>
        </pc:spChg>
        <pc:spChg chg="add mod">
          <ac:chgData name="Mustafa Alkaya" userId="aacbf56ada369191" providerId="Windows Live" clId="Web-{85B5E5E5-18BF-418B-9DBF-11F08597C344}" dt="2025-02-08T17:44:12.864" v="38" actId="1076"/>
          <ac:spMkLst>
            <pc:docMk/>
            <pc:sldMk cId="1150651287" sldId="389"/>
            <ac:spMk id="8" creationId="{D26278C1-1EAB-AB1A-2C31-74C0E054DC7F}"/>
          </ac:spMkLst>
        </pc:spChg>
        <pc:spChg chg="add mod">
          <ac:chgData name="Mustafa Alkaya" userId="aacbf56ada369191" providerId="Windows Live" clId="Web-{85B5E5E5-18BF-418B-9DBF-11F08597C344}" dt="2025-02-08T17:55:24.071" v="122" actId="14100"/>
          <ac:spMkLst>
            <pc:docMk/>
            <pc:sldMk cId="1150651287" sldId="389"/>
            <ac:spMk id="10" creationId="{1DD535D1-D05C-4B9C-E279-C85198267FC8}"/>
          </ac:spMkLst>
        </pc:spChg>
        <pc:spChg chg="add mod">
          <ac:chgData name="Mustafa Alkaya" userId="aacbf56ada369191" providerId="Windows Live" clId="Web-{85B5E5E5-18BF-418B-9DBF-11F08597C344}" dt="2025-02-08T17:57:09.511" v="132" actId="20577"/>
          <ac:spMkLst>
            <pc:docMk/>
            <pc:sldMk cId="1150651287" sldId="389"/>
            <ac:spMk id="12" creationId="{D9D40A6A-35E7-3DFD-4F23-2B77003CD820}"/>
          </ac:spMkLst>
        </pc:spChg>
        <pc:spChg chg="mod">
          <ac:chgData name="Mustafa Alkaya" userId="aacbf56ada369191" providerId="Windows Live" clId="Web-{85B5E5E5-18BF-418B-9DBF-11F08597C344}" dt="2025-02-08T17:57:25.559" v="134" actId="20577"/>
          <ac:spMkLst>
            <pc:docMk/>
            <pc:sldMk cId="1150651287" sldId="389"/>
            <ac:spMk id="16" creationId="{C670E43C-C49F-BF49-FF4D-83BE2997D18F}"/>
          </ac:spMkLst>
        </pc:spChg>
        <pc:picChg chg="mod">
          <ac:chgData name="Mustafa Alkaya" userId="aacbf56ada369191" providerId="Windows Live" clId="Web-{85B5E5E5-18BF-418B-9DBF-11F08597C344}" dt="2025-02-08T17:56:22.588" v="124" actId="1076"/>
          <ac:picMkLst>
            <pc:docMk/>
            <pc:sldMk cId="1150651287" sldId="389"/>
            <ac:picMk id="19" creationId="{19FF9716-C306-20D6-1B77-80E19B0C864C}"/>
          </ac:picMkLst>
        </pc:picChg>
      </pc:sldChg>
      <pc:sldChg chg="addSp delSp modSp new">
        <pc:chgData name="Mustafa Alkaya" userId="aacbf56ada369191" providerId="Windows Live" clId="Web-{85B5E5E5-18BF-418B-9DBF-11F08597C344}" dt="2025-02-08T18:41:03.636" v="303" actId="20577"/>
        <pc:sldMkLst>
          <pc:docMk/>
          <pc:sldMk cId="1700137246" sldId="390"/>
        </pc:sldMkLst>
        <pc:spChg chg="mod">
          <ac:chgData name="Mustafa Alkaya" userId="aacbf56ada369191" providerId="Windows Live" clId="Web-{85B5E5E5-18BF-418B-9DBF-11F08597C344}" dt="2025-02-08T18:20:45.950" v="177" actId="20577"/>
          <ac:spMkLst>
            <pc:docMk/>
            <pc:sldMk cId="1700137246" sldId="390"/>
            <ac:spMk id="3" creationId="{271F7CFB-5048-2F09-DB5A-63789D942DF7}"/>
          </ac:spMkLst>
        </pc:spChg>
        <pc:spChg chg="mod">
          <ac:chgData name="Mustafa Alkaya" userId="aacbf56ada369191" providerId="Windows Live" clId="Web-{85B5E5E5-18BF-418B-9DBF-11F08597C344}" dt="2025-02-08T17:57:56.450" v="166" actId="20577"/>
          <ac:spMkLst>
            <pc:docMk/>
            <pc:sldMk cId="1700137246" sldId="390"/>
            <ac:spMk id="5" creationId="{9B7CADF6-7A64-388C-F47D-0D71A01FC465}"/>
          </ac:spMkLst>
        </pc:spChg>
        <pc:spChg chg="mod">
          <ac:chgData name="Mustafa Alkaya" userId="aacbf56ada369191" providerId="Windows Live" clId="Web-{85B5E5E5-18BF-418B-9DBF-11F08597C344}" dt="2025-02-08T18:41:03.636" v="303" actId="20577"/>
          <ac:spMkLst>
            <pc:docMk/>
            <pc:sldMk cId="1700137246" sldId="390"/>
            <ac:spMk id="6" creationId="{8E84FF58-466C-A274-693E-6EFCADEACF79}"/>
          </ac:spMkLst>
        </pc:spChg>
        <pc:spChg chg="add del mod">
          <ac:chgData name="Mustafa Alkaya" userId="aacbf56ada369191" providerId="Windows Live" clId="Web-{85B5E5E5-18BF-418B-9DBF-11F08597C344}" dt="2025-02-08T18:40:55.213" v="301" actId="1076"/>
          <ac:spMkLst>
            <pc:docMk/>
            <pc:sldMk cId="1700137246" sldId="390"/>
            <ac:spMk id="10" creationId="{D06D3CBF-F11F-357D-DA85-4E71CAD42081}"/>
          </ac:spMkLst>
        </pc:spChg>
        <pc:picChg chg="add mod">
          <ac:chgData name="Mustafa Alkaya" userId="aacbf56ada369191" providerId="Windows Live" clId="Web-{85B5E5E5-18BF-418B-9DBF-11F08597C344}" dt="2025-02-08T18:40:46.619" v="300" actId="1076"/>
          <ac:picMkLst>
            <pc:docMk/>
            <pc:sldMk cId="1700137246" sldId="390"/>
            <ac:picMk id="7" creationId="{6766B7C1-D5BE-239F-4C8C-E12FDD84EBBE}"/>
          </ac:picMkLst>
        </pc:picChg>
      </pc:sldChg>
      <pc:sldChg chg="addSp delSp modSp new">
        <pc:chgData name="Mustafa Alkaya" userId="aacbf56ada369191" providerId="Windows Live" clId="Web-{85B5E5E5-18BF-418B-9DBF-11F08597C344}" dt="2025-02-08T19:02:32.823" v="435" actId="20577"/>
        <pc:sldMkLst>
          <pc:docMk/>
          <pc:sldMk cId="2927313761" sldId="391"/>
        </pc:sldMkLst>
        <pc:spChg chg="mod">
          <ac:chgData name="Mustafa Alkaya" userId="aacbf56ada369191" providerId="Windows Live" clId="Web-{85B5E5E5-18BF-418B-9DBF-11F08597C344}" dt="2025-02-08T18:41:36.606" v="325" actId="20577"/>
          <ac:spMkLst>
            <pc:docMk/>
            <pc:sldMk cId="2927313761" sldId="391"/>
            <ac:spMk id="3" creationId="{E1D636A4-6DDE-0C33-DC9D-21FA02121330}"/>
          </ac:spMkLst>
        </pc:spChg>
        <pc:spChg chg="mod">
          <ac:chgData name="Mustafa Alkaya" userId="aacbf56ada369191" providerId="Windows Live" clId="Web-{85B5E5E5-18BF-418B-9DBF-11F08597C344}" dt="2025-02-08T18:41:21.074" v="320" actId="20577"/>
          <ac:spMkLst>
            <pc:docMk/>
            <pc:sldMk cId="2927313761" sldId="391"/>
            <ac:spMk id="5" creationId="{D28C0962-BA1C-94A3-142F-A531AB132C42}"/>
          </ac:spMkLst>
        </pc:spChg>
        <pc:spChg chg="mod">
          <ac:chgData name="Mustafa Alkaya" userId="aacbf56ada369191" providerId="Windows Live" clId="Web-{85B5E5E5-18BF-418B-9DBF-11F08597C344}" dt="2025-02-08T19:01:24.024" v="406" actId="14100"/>
          <ac:spMkLst>
            <pc:docMk/>
            <pc:sldMk cId="2927313761" sldId="391"/>
            <ac:spMk id="6" creationId="{34C3CD95-EC1B-53CD-A86E-6677C1B92193}"/>
          </ac:spMkLst>
        </pc:spChg>
        <pc:spChg chg="add mod">
          <ac:chgData name="Mustafa Alkaya" userId="aacbf56ada369191" providerId="Windows Live" clId="Web-{85B5E5E5-18BF-418B-9DBF-11F08597C344}" dt="2025-02-08T19:01:15.946" v="404" actId="14100"/>
          <ac:spMkLst>
            <pc:docMk/>
            <pc:sldMk cId="2927313761" sldId="391"/>
            <ac:spMk id="11" creationId="{43003B75-0361-6415-5DB8-BBED871CAC5B}"/>
          </ac:spMkLst>
        </pc:spChg>
        <pc:spChg chg="add mod">
          <ac:chgData name="Mustafa Alkaya" userId="aacbf56ada369191" providerId="Windows Live" clId="Web-{85B5E5E5-18BF-418B-9DBF-11F08597C344}" dt="2025-02-08T19:02:32.823" v="435" actId="20577"/>
          <ac:spMkLst>
            <pc:docMk/>
            <pc:sldMk cId="2927313761" sldId="391"/>
            <ac:spMk id="13" creationId="{FA8977C1-6FEE-EF5E-F022-120BE749B1E3}"/>
          </ac:spMkLst>
        </pc:spChg>
        <pc:picChg chg="add mod">
          <ac:chgData name="Mustafa Alkaya" userId="aacbf56ada369191" providerId="Windows Live" clId="Web-{85B5E5E5-18BF-418B-9DBF-11F08597C344}" dt="2025-02-08T19:01:38.743" v="410" actId="1076"/>
          <ac:picMkLst>
            <pc:docMk/>
            <pc:sldMk cId="2927313761" sldId="391"/>
            <ac:picMk id="8" creationId="{85F26A23-830D-4813-ABB1-B1273A8DD1CB}"/>
          </ac:picMkLst>
        </pc:picChg>
      </pc:sldChg>
    </pc:docChg>
  </pc:docChgLst>
  <pc:docChgLst>
    <pc:chgData name="Agah Celebi" userId="5990b23d9d5bc4c9" providerId="Windows Live" clId="Web-{3E7856D9-D56D-43FC-B0FE-4FBAAF5BE084}"/>
    <pc:docChg chg="sldOrd">
      <pc:chgData name="Agah Celebi" userId="5990b23d9d5bc4c9" providerId="Windows Live" clId="Web-{3E7856D9-D56D-43FC-B0FE-4FBAAF5BE084}" dt="2025-02-12T07:45:07.168" v="1"/>
      <pc:docMkLst>
        <pc:docMk/>
      </pc:docMkLst>
      <pc:sldChg chg="ord">
        <pc:chgData name="Agah Celebi" userId="5990b23d9d5bc4c9" providerId="Windows Live" clId="Web-{3E7856D9-D56D-43FC-B0FE-4FBAAF5BE084}" dt="2025-02-12T07:45:07.168" v="1"/>
        <pc:sldMkLst>
          <pc:docMk/>
          <pc:sldMk cId="4044683214" sldId="420"/>
        </pc:sldMkLst>
      </pc:sldChg>
    </pc:docChg>
  </pc:docChgLst>
  <pc:docChgLst>
    <pc:chgData name="Agah Celebi" userId="5990b23d9d5bc4c9" providerId="Windows Live" clId="Web-{396ED4BD-14A7-44E7-9894-9998575E5B82}"/>
    <pc:docChg chg="modSld">
      <pc:chgData name="Agah Celebi" userId="5990b23d9d5bc4c9" providerId="Windows Live" clId="Web-{396ED4BD-14A7-44E7-9894-9998575E5B82}" dt="2025-02-05T20:57:36.103" v="13" actId="20577"/>
      <pc:docMkLst>
        <pc:docMk/>
      </pc:docMkLst>
      <pc:sldChg chg="modSp">
        <pc:chgData name="Agah Celebi" userId="5990b23d9d5bc4c9" providerId="Windows Live" clId="Web-{396ED4BD-14A7-44E7-9894-9998575E5B82}" dt="2025-02-05T20:57:29.681" v="4" actId="20577"/>
        <pc:sldMkLst>
          <pc:docMk/>
          <pc:sldMk cId="2822033000" sldId="365"/>
        </pc:sldMkLst>
      </pc:sldChg>
      <pc:sldChg chg="modSp">
        <pc:chgData name="Agah Celebi" userId="5990b23d9d5bc4c9" providerId="Windows Live" clId="Web-{396ED4BD-14A7-44E7-9894-9998575E5B82}" dt="2025-02-05T20:57:36.103" v="13" actId="20577"/>
        <pc:sldMkLst>
          <pc:docMk/>
          <pc:sldMk cId="702173695" sldId="376"/>
        </pc:sldMkLst>
      </pc:sldChg>
    </pc:docChg>
  </pc:docChgLst>
  <pc:docChgLst>
    <pc:chgData name="Erdem Agfirat" userId="3def093e706752c9" providerId="Windows Live" clId="Web-{BE44B495-1C99-4346-904B-ACF74FB2760A}"/>
    <pc:docChg chg="addSld modSld">
      <pc:chgData name="Erdem Agfirat" userId="3def093e706752c9" providerId="Windows Live" clId="Web-{BE44B495-1C99-4346-904B-ACF74FB2760A}" dt="2025-02-05T14:35:28.551" v="115" actId="20577"/>
      <pc:docMkLst>
        <pc:docMk/>
      </pc:docMkLst>
      <pc:sldChg chg="addSp delSp modSp add replId">
        <pc:chgData name="Erdem Agfirat" userId="3def093e706752c9" providerId="Windows Live" clId="Web-{BE44B495-1C99-4346-904B-ACF74FB2760A}" dt="2025-02-05T13:22:45.200" v="25" actId="1076"/>
        <pc:sldMkLst>
          <pc:docMk/>
          <pc:sldMk cId="733486021" sldId="378"/>
        </pc:sldMkLst>
      </pc:sldChg>
      <pc:sldChg chg="addSp delSp modSp add replId">
        <pc:chgData name="Erdem Agfirat" userId="3def093e706752c9" providerId="Windows Live" clId="Web-{BE44B495-1C99-4346-904B-ACF74FB2760A}" dt="2025-02-05T14:35:28.551" v="115" actId="20577"/>
        <pc:sldMkLst>
          <pc:docMk/>
          <pc:sldMk cId="148414727" sldId="379"/>
        </pc:sldMkLst>
      </pc:sldChg>
    </pc:docChg>
  </pc:docChgLst>
  <pc:docChgLst>
    <pc:chgData name="Mustafa Alkaya" userId="aacbf56ada369191" providerId="Windows Live" clId="Web-{530E523F-E444-42CA-B2C9-F46671F70CCA}"/>
    <pc:docChg chg="addSld modSld">
      <pc:chgData name="Mustafa Alkaya" userId="aacbf56ada369191" providerId="Windows Live" clId="Web-{530E523F-E444-42CA-B2C9-F46671F70CCA}" dt="2025-02-09T17:27:15.145" v="271" actId="1076"/>
      <pc:docMkLst>
        <pc:docMk/>
      </pc:docMkLst>
      <pc:sldChg chg="addSp delSp modSp">
        <pc:chgData name="Mustafa Alkaya" userId="aacbf56ada369191" providerId="Windows Live" clId="Web-{530E523F-E444-42CA-B2C9-F46671F70CCA}" dt="2025-02-09T17:27:15.145" v="271" actId="1076"/>
        <pc:sldMkLst>
          <pc:docMk/>
          <pc:sldMk cId="2095473313" sldId="347"/>
        </pc:sldMkLst>
      </pc:sldChg>
      <pc:sldChg chg="addSp delSp modSp">
        <pc:chgData name="Mustafa Alkaya" userId="aacbf56ada369191" providerId="Windows Live" clId="Web-{530E523F-E444-42CA-B2C9-F46671F70CCA}" dt="2025-02-09T16:58:17.555" v="117" actId="20577"/>
        <pc:sldMkLst>
          <pc:docMk/>
          <pc:sldMk cId="177978586" sldId="350"/>
        </pc:sldMkLst>
        <pc:spChg chg="mod">
          <ac:chgData name="Mustafa Alkaya" userId="aacbf56ada369191" providerId="Windows Live" clId="Web-{530E523F-E444-42CA-B2C9-F46671F70CCA}" dt="2025-02-09T16:47:28.830" v="22" actId="20577"/>
          <ac:spMkLst>
            <pc:docMk/>
            <pc:sldMk cId="177978586" sldId="350"/>
            <ac:spMk id="2" creationId="{43D62046-283B-24D5-D9AC-0CECC0D7F746}"/>
          </ac:spMkLst>
        </pc:spChg>
        <pc:spChg chg="add mod">
          <ac:chgData name="Mustafa Alkaya" userId="aacbf56ada369191" providerId="Windows Live" clId="Web-{530E523F-E444-42CA-B2C9-F46671F70CCA}" dt="2025-02-09T16:58:17.555" v="117" actId="20577"/>
          <ac:spMkLst>
            <pc:docMk/>
            <pc:sldMk cId="177978586" sldId="350"/>
            <ac:spMk id="8" creationId="{A436342E-C4D5-DC60-92E4-FB2CD69B0AB0}"/>
          </ac:spMkLst>
        </pc:spChg>
        <pc:picChg chg="add mod">
          <ac:chgData name="Mustafa Alkaya" userId="aacbf56ada369191" providerId="Windows Live" clId="Web-{530E523F-E444-42CA-B2C9-F46671F70CCA}" dt="2025-02-09T16:46:03.327" v="13"/>
          <ac:picMkLst>
            <pc:docMk/>
            <pc:sldMk cId="177978586" sldId="350"/>
            <ac:picMk id="6" creationId="{5C4AD017-51CC-D827-176E-5FC1DE7FCA20}"/>
          </ac:picMkLst>
        </pc:picChg>
      </pc:sldChg>
      <pc:sldChg chg="modSp">
        <pc:chgData name="Mustafa Alkaya" userId="aacbf56ada369191" providerId="Windows Live" clId="Web-{530E523F-E444-42CA-B2C9-F46671F70CCA}" dt="2025-02-09T14:39:34.210" v="8" actId="20577"/>
        <pc:sldMkLst>
          <pc:docMk/>
          <pc:sldMk cId="343264474" sldId="362"/>
        </pc:sldMkLst>
        <pc:spChg chg="mod">
          <ac:chgData name="Mustafa Alkaya" userId="aacbf56ada369191" providerId="Windows Live" clId="Web-{530E523F-E444-42CA-B2C9-F46671F70CCA}" dt="2025-02-09T14:39:34.210" v="8" actId="20577"/>
          <ac:spMkLst>
            <pc:docMk/>
            <pc:sldMk cId="343264474" sldId="362"/>
            <ac:spMk id="3" creationId="{633023E5-0172-426E-6178-725515969D74}"/>
          </ac:spMkLst>
        </pc:spChg>
      </pc:sldChg>
      <pc:sldChg chg="addSp delSp modSp new">
        <pc:chgData name="Mustafa Alkaya" userId="aacbf56ada369191" providerId="Windows Live" clId="Web-{530E523F-E444-42CA-B2C9-F46671F70CCA}" dt="2025-02-09T16:58:14.774" v="116" actId="20577"/>
        <pc:sldMkLst>
          <pc:docMk/>
          <pc:sldMk cId="3278079797" sldId="396"/>
        </pc:sldMkLst>
        <pc:spChg chg="mod">
          <ac:chgData name="Mustafa Alkaya" userId="aacbf56ada369191" providerId="Windows Live" clId="Web-{530E523F-E444-42CA-B2C9-F46671F70CCA}" dt="2025-02-09T16:48:02.878" v="29" actId="20577"/>
          <ac:spMkLst>
            <pc:docMk/>
            <pc:sldMk cId="3278079797" sldId="396"/>
            <ac:spMk id="2" creationId="{11340A7E-A1A2-6485-44E4-6A6FFBC63316}"/>
          </ac:spMkLst>
        </pc:spChg>
        <pc:spChg chg="mod">
          <ac:chgData name="Mustafa Alkaya" userId="aacbf56ada369191" providerId="Windows Live" clId="Web-{530E523F-E444-42CA-B2C9-F46671F70CCA}" dt="2025-02-09T16:58:02.914" v="115" actId="20577"/>
          <ac:spMkLst>
            <pc:docMk/>
            <pc:sldMk cId="3278079797" sldId="396"/>
            <ac:spMk id="4" creationId="{C8FB2199-E8CA-E830-F9A2-6B1DD1D7F47C}"/>
          </ac:spMkLst>
        </pc:spChg>
        <pc:spChg chg="mod">
          <ac:chgData name="Mustafa Alkaya" userId="aacbf56ada369191" providerId="Windows Live" clId="Web-{530E523F-E444-42CA-B2C9-F46671F70CCA}" dt="2025-02-09T16:58:14.774" v="116" actId="20577"/>
          <ac:spMkLst>
            <pc:docMk/>
            <pc:sldMk cId="3278079797" sldId="396"/>
            <ac:spMk id="7" creationId="{6668019B-8A12-0DC0-0F56-E12A61EACA98}"/>
          </ac:spMkLst>
        </pc:spChg>
        <pc:picChg chg="add mod">
          <ac:chgData name="Mustafa Alkaya" userId="aacbf56ada369191" providerId="Windows Live" clId="Web-{530E523F-E444-42CA-B2C9-F46671F70CCA}" dt="2025-02-09T16:48:19.957" v="35" actId="1076"/>
          <ac:picMkLst>
            <pc:docMk/>
            <pc:sldMk cId="3278079797" sldId="396"/>
            <ac:picMk id="8" creationId="{41F07478-3994-49CA-2093-ED3FFBCBEFF0}"/>
          </ac:picMkLst>
        </pc:picChg>
      </pc:sldChg>
    </pc:docChg>
  </pc:docChgLst>
  <pc:docChgLst>
    <pc:chgData name="Agah Celebi" userId="5990b23d9d5bc4c9" providerId="Windows Live" clId="Web-{407BFF97-79A8-477A-889D-D469906DC8F5}"/>
    <pc:docChg chg="modSld">
      <pc:chgData name="Agah Celebi" userId="5990b23d9d5bc4c9" providerId="Windows Live" clId="Web-{407BFF97-79A8-477A-889D-D469906DC8F5}" dt="2025-02-12T07:20:39.329" v="11" actId="1076"/>
      <pc:docMkLst>
        <pc:docMk/>
      </pc:docMkLst>
      <pc:sldChg chg="modSp">
        <pc:chgData name="Agah Celebi" userId="5990b23d9d5bc4c9" providerId="Windows Live" clId="Web-{407BFF97-79A8-477A-889D-D469906DC8F5}" dt="2025-02-12T07:16:38.523" v="4" actId="20577"/>
        <pc:sldMkLst>
          <pc:docMk/>
          <pc:sldMk cId="3736741865" sldId="361"/>
        </pc:sldMkLst>
        <pc:spChg chg="mod">
          <ac:chgData name="Agah Celebi" userId="5990b23d9d5bc4c9" providerId="Windows Live" clId="Web-{407BFF97-79A8-477A-889D-D469906DC8F5}" dt="2025-02-12T07:16:38.523" v="4" actId="20577"/>
          <ac:spMkLst>
            <pc:docMk/>
            <pc:sldMk cId="3736741865" sldId="361"/>
            <ac:spMk id="7" creationId="{60C5E49B-5389-6049-A39F-4B9946031523}"/>
          </ac:spMkLst>
        </pc:spChg>
      </pc:sldChg>
      <pc:sldChg chg="addSp modSp">
        <pc:chgData name="Agah Celebi" userId="5990b23d9d5bc4c9" providerId="Windows Live" clId="Web-{407BFF97-79A8-477A-889D-D469906DC8F5}" dt="2025-02-12T07:20:39.329" v="11" actId="1076"/>
        <pc:sldMkLst>
          <pc:docMk/>
          <pc:sldMk cId="1522033830" sldId="399"/>
        </pc:sldMkLst>
        <pc:spChg chg="mod">
          <ac:chgData name="Agah Celebi" userId="5990b23d9d5bc4c9" providerId="Windows Live" clId="Web-{407BFF97-79A8-477A-889D-D469906DC8F5}" dt="2025-02-12T07:20:26.250" v="9" actId="1076"/>
          <ac:spMkLst>
            <pc:docMk/>
            <pc:sldMk cId="1522033830" sldId="399"/>
            <ac:spMk id="11" creationId="{1EE1AF33-2DEF-D138-814E-FC9D85CC9AB3}"/>
          </ac:spMkLst>
        </pc:spChg>
        <pc:picChg chg="add mod">
          <ac:chgData name="Agah Celebi" userId="5990b23d9d5bc4c9" providerId="Windows Live" clId="Web-{407BFF97-79A8-477A-889D-D469906DC8F5}" dt="2025-02-12T07:20:39.329" v="11" actId="1076"/>
          <ac:picMkLst>
            <pc:docMk/>
            <pc:sldMk cId="1522033830" sldId="399"/>
            <ac:picMk id="10" creationId="{231AF0A0-E51E-BC23-2537-EAA3D458C669}"/>
          </ac:picMkLst>
        </pc:picChg>
      </pc:sldChg>
    </pc:docChg>
  </pc:docChgLst>
  <pc:docChgLst>
    <pc:chgData name="Erdem Agfirat" userId="3def093e706752c9" providerId="Windows Live" clId="Web-{BDE93FAE-BF0B-4924-B010-4E745BDBDBD0}"/>
    <pc:docChg chg="modSld">
      <pc:chgData name="Erdem Agfirat" userId="3def093e706752c9" providerId="Windows Live" clId="Web-{BDE93FAE-BF0B-4924-B010-4E745BDBDBD0}" dt="2025-02-09T13:29:42.667" v="25" actId="1076"/>
      <pc:docMkLst>
        <pc:docMk/>
      </pc:docMkLst>
      <pc:sldChg chg="modSp">
        <pc:chgData name="Erdem Agfirat" userId="3def093e706752c9" providerId="Windows Live" clId="Web-{BDE93FAE-BF0B-4924-B010-4E745BDBDBD0}" dt="2025-02-09T12:33:38.817" v="2" actId="1076"/>
        <pc:sldMkLst>
          <pc:docMk/>
          <pc:sldMk cId="1568747828" sldId="325"/>
        </pc:sldMkLst>
        <pc:spChg chg="mod">
          <ac:chgData name="Erdem Agfirat" userId="3def093e706752c9" providerId="Windows Live" clId="Web-{BDE93FAE-BF0B-4924-B010-4E745BDBDBD0}" dt="2025-02-09T12:33:36.754" v="1" actId="1076"/>
          <ac:spMkLst>
            <pc:docMk/>
            <pc:sldMk cId="1568747828" sldId="325"/>
            <ac:spMk id="11" creationId="{EDB4B7C9-B5B2-7650-140D-69ABFD8F65D8}"/>
          </ac:spMkLst>
        </pc:spChg>
        <pc:picChg chg="mod">
          <ac:chgData name="Erdem Agfirat" userId="3def093e706752c9" providerId="Windows Live" clId="Web-{BDE93FAE-BF0B-4924-B010-4E745BDBDBD0}" dt="2025-02-09T12:33:38.817" v="2" actId="1076"/>
          <ac:picMkLst>
            <pc:docMk/>
            <pc:sldMk cId="1568747828" sldId="325"/>
            <ac:picMk id="7" creationId="{EBA432DE-AD2B-A37D-4639-436E19A23E0E}"/>
          </ac:picMkLst>
        </pc:picChg>
      </pc:sldChg>
      <pc:sldChg chg="modSp">
        <pc:chgData name="Erdem Agfirat" userId="3def093e706752c9" providerId="Windows Live" clId="Web-{BDE93FAE-BF0B-4924-B010-4E745BDBDBD0}" dt="2025-02-09T13:29:42.667" v="25" actId="1076"/>
        <pc:sldMkLst>
          <pc:docMk/>
          <pc:sldMk cId="3752208976" sldId="382"/>
        </pc:sldMkLst>
      </pc:sldChg>
      <pc:sldChg chg="modSp">
        <pc:chgData name="Erdem Agfirat" userId="3def093e706752c9" providerId="Windows Live" clId="Web-{BDE93FAE-BF0B-4924-B010-4E745BDBDBD0}" dt="2025-02-09T12:35:45.494" v="4" actId="1076"/>
        <pc:sldMkLst>
          <pc:docMk/>
          <pc:sldMk cId="2608332507" sldId="384"/>
        </pc:sldMkLst>
        <pc:picChg chg="mod">
          <ac:chgData name="Erdem Agfirat" userId="3def093e706752c9" providerId="Windows Live" clId="Web-{BDE93FAE-BF0B-4924-B010-4E745BDBDBD0}" dt="2025-02-09T12:35:45.494" v="4" actId="1076"/>
          <ac:picMkLst>
            <pc:docMk/>
            <pc:sldMk cId="2608332507" sldId="384"/>
            <ac:picMk id="7" creationId="{64CC3305-24BB-B17C-A12D-1931C0B641CE}"/>
          </ac:picMkLst>
        </pc:picChg>
      </pc:sldChg>
      <pc:sldChg chg="modSp">
        <pc:chgData name="Erdem Agfirat" userId="3def093e706752c9" providerId="Windows Live" clId="Web-{BDE93FAE-BF0B-4924-B010-4E745BDBDBD0}" dt="2025-02-09T13:26:45.130" v="23" actId="20577"/>
        <pc:sldMkLst>
          <pc:docMk/>
          <pc:sldMk cId="1700137246" sldId="390"/>
        </pc:sldMkLst>
        <pc:spChg chg="mod">
          <ac:chgData name="Erdem Agfirat" userId="3def093e706752c9" providerId="Windows Live" clId="Web-{BDE93FAE-BF0B-4924-B010-4E745BDBDBD0}" dt="2025-02-09T13:26:45.130" v="23" actId="20577"/>
          <ac:spMkLst>
            <pc:docMk/>
            <pc:sldMk cId="1700137246" sldId="390"/>
            <ac:spMk id="10" creationId="{D06D3CBF-F11F-357D-DA85-4E71CAD42081}"/>
          </ac:spMkLst>
        </pc:spChg>
      </pc:sldChg>
    </pc:docChg>
  </pc:docChgLst>
  <pc:docChgLst>
    <pc:chgData name="Erdem Agfirat" userId="3def093e706752c9" providerId="Windows Live" clId="Web-{FAF10E2A-4D85-4281-BF4A-EB80DC0BF76D}"/>
    <pc:docChg chg="addSld delSld modSld sldOrd">
      <pc:chgData name="Erdem Agfirat" userId="3def093e706752c9" providerId="Windows Live" clId="Web-{FAF10E2A-4D85-4281-BF4A-EB80DC0BF76D}" dt="2025-02-06T14:59:40.399" v="222" actId="20577"/>
      <pc:docMkLst>
        <pc:docMk/>
      </pc:docMkLst>
      <pc:sldChg chg="addSp delSp modSp ord">
        <pc:chgData name="Erdem Agfirat" userId="3def093e706752c9" providerId="Windows Live" clId="Web-{FAF10E2A-4D85-4281-BF4A-EB80DC0BF76D}" dt="2025-02-06T14:56:10.830" v="192"/>
        <pc:sldMkLst>
          <pc:docMk/>
          <pc:sldMk cId="2899606391" sldId="356"/>
        </pc:sldMkLst>
      </pc:sldChg>
      <pc:sldChg chg="addSp delSp modSp add del">
        <pc:chgData name="Erdem Agfirat" userId="3def093e706752c9" providerId="Windows Live" clId="Web-{FAF10E2A-4D85-4281-BF4A-EB80DC0BF76D}" dt="2025-02-06T14:56:49.237" v="203"/>
        <pc:sldMkLst>
          <pc:docMk/>
          <pc:sldMk cId="2088111408" sldId="357"/>
        </pc:sldMkLst>
      </pc:sldChg>
      <pc:sldChg chg="del">
        <pc:chgData name="Erdem Agfirat" userId="3def093e706752c9" providerId="Windows Live" clId="Web-{FAF10E2A-4D85-4281-BF4A-EB80DC0BF76D}" dt="2025-02-06T14:11:39.646" v="88"/>
        <pc:sldMkLst>
          <pc:docMk/>
          <pc:sldMk cId="1213190179" sldId="358"/>
        </pc:sldMkLst>
      </pc:sldChg>
      <pc:sldChg chg="del">
        <pc:chgData name="Erdem Agfirat" userId="3def093e706752c9" providerId="Windows Live" clId="Web-{FAF10E2A-4D85-4281-BF4A-EB80DC0BF76D}" dt="2025-02-06T13:21:36.714" v="17"/>
        <pc:sldMkLst>
          <pc:docMk/>
          <pc:sldMk cId="1068096600" sldId="377"/>
        </pc:sldMkLst>
      </pc:sldChg>
      <pc:sldChg chg="add del replId">
        <pc:chgData name="Erdem Agfirat" userId="3def093e706752c9" providerId="Windows Live" clId="Web-{FAF10E2A-4D85-4281-BF4A-EB80DC0BF76D}" dt="2025-02-06T13:21:08.276" v="9"/>
        <pc:sldMkLst>
          <pc:docMk/>
          <pc:sldMk cId="1344913740" sldId="382"/>
        </pc:sldMkLst>
      </pc:sldChg>
      <pc:sldChg chg="addSp delSp modSp add replId">
        <pc:chgData name="Erdem Agfirat" userId="3def093e706752c9" providerId="Windows Live" clId="Web-{FAF10E2A-4D85-4281-BF4A-EB80DC0BF76D}" dt="2025-02-06T14:15:45.810" v="89" actId="20577"/>
        <pc:sldMkLst>
          <pc:docMk/>
          <pc:sldMk cId="3752208976" sldId="382"/>
        </pc:sldMkLst>
        <pc:spChg chg="mod">
          <ac:chgData name="Erdem Agfirat" userId="3def093e706752c9" providerId="Windows Live" clId="Web-{FAF10E2A-4D85-4281-BF4A-EB80DC0BF76D}" dt="2025-02-06T14:15:45.810" v="89" actId="20577"/>
          <ac:spMkLst>
            <pc:docMk/>
            <pc:sldMk cId="3752208976" sldId="382"/>
            <ac:spMk id="5" creationId="{2276D27E-3D37-A4BC-7CE8-720993DC6F5D}"/>
          </ac:spMkLst>
        </pc:spChg>
      </pc:sldChg>
      <pc:sldChg chg="addSp delSp modSp add del replId">
        <pc:chgData name="Erdem Agfirat" userId="3def093e706752c9" providerId="Windows Live" clId="Web-{FAF10E2A-4D85-4281-BF4A-EB80DC0BF76D}" dt="2025-02-06T14:20:29.476" v="111"/>
        <pc:sldMkLst>
          <pc:docMk/>
          <pc:sldMk cId="417324586" sldId="383"/>
        </pc:sldMkLst>
      </pc:sldChg>
      <pc:sldChg chg="addSp delSp modSp add replId">
        <pc:chgData name="Erdem Agfirat" userId="3def093e706752c9" providerId="Windows Live" clId="Web-{FAF10E2A-4D85-4281-BF4A-EB80DC0BF76D}" dt="2025-02-06T14:56:20.658" v="194" actId="1076"/>
        <pc:sldMkLst>
          <pc:docMk/>
          <pc:sldMk cId="1831668785" sldId="383"/>
        </pc:sldMkLst>
      </pc:sldChg>
      <pc:sldChg chg="addSp delSp modSp add replId">
        <pc:chgData name="Erdem Agfirat" userId="3def093e706752c9" providerId="Windows Live" clId="Web-{FAF10E2A-4D85-4281-BF4A-EB80DC0BF76D}" dt="2025-02-06T14:55:10.562" v="191"/>
        <pc:sldMkLst>
          <pc:docMk/>
          <pc:sldMk cId="2608332507" sldId="384"/>
        </pc:sldMkLst>
        <pc:spChg chg="mod">
          <ac:chgData name="Erdem Agfirat" userId="3def093e706752c9" providerId="Windows Live" clId="Web-{FAF10E2A-4D85-4281-BF4A-EB80DC0BF76D}" dt="2025-02-06T14:49:22.457" v="181" actId="20577"/>
          <ac:spMkLst>
            <pc:docMk/>
            <pc:sldMk cId="2608332507" sldId="384"/>
            <ac:spMk id="5" creationId="{646B2BC5-DCCF-7A57-EA09-75A5F36DEFFA}"/>
          </ac:spMkLst>
        </pc:spChg>
      </pc:sldChg>
      <pc:sldChg chg="delSp modSp add replId">
        <pc:chgData name="Erdem Agfirat" userId="3def093e706752c9" providerId="Windows Live" clId="Web-{FAF10E2A-4D85-4281-BF4A-EB80DC0BF76D}" dt="2025-02-06T14:59:40.399" v="222" actId="20577"/>
        <pc:sldMkLst>
          <pc:docMk/>
          <pc:sldMk cId="2440610122" sldId="385"/>
        </pc:sldMkLst>
        <pc:spChg chg="mod">
          <ac:chgData name="Erdem Agfirat" userId="3def093e706752c9" providerId="Windows Live" clId="Web-{FAF10E2A-4D85-4281-BF4A-EB80DC0BF76D}" dt="2025-02-06T14:59:40.399" v="222" actId="20577"/>
          <ac:spMkLst>
            <pc:docMk/>
            <pc:sldMk cId="2440610122" sldId="385"/>
            <ac:spMk id="5" creationId="{7989EF13-63BE-3CFA-901B-887AA4015788}"/>
          </ac:spMkLst>
        </pc:spChg>
      </pc:sldChg>
    </pc:docChg>
  </pc:docChgLst>
  <pc:docChgLst>
    <pc:chgData name="Erdem Agfirat" userId="3def093e706752c9" providerId="Windows Live" clId="Web-{CB7DB60E-1B3D-42D4-B74C-4D570F98FE08}"/>
    <pc:docChg chg="delSld">
      <pc:chgData name="Erdem Agfirat" userId="3def093e706752c9" providerId="Windows Live" clId="Web-{CB7DB60E-1B3D-42D4-B74C-4D570F98FE08}" dt="2025-02-20T11:53:34.683" v="4"/>
      <pc:docMkLst>
        <pc:docMk/>
      </pc:docMkLst>
      <pc:sldChg chg="del">
        <pc:chgData name="Erdem Agfirat" userId="3def093e706752c9" providerId="Windows Live" clId="Web-{CB7DB60E-1B3D-42D4-B74C-4D570F98FE08}" dt="2025-02-20T11:53:34.683" v="4"/>
        <pc:sldMkLst>
          <pc:docMk/>
          <pc:sldMk cId="1568747828" sldId="325"/>
        </pc:sldMkLst>
      </pc:sldChg>
      <pc:sldChg chg="del">
        <pc:chgData name="Erdem Agfirat" userId="3def093e706752c9" providerId="Windows Live" clId="Web-{CB7DB60E-1B3D-42D4-B74C-4D570F98FE08}" dt="2025-02-20T11:53:25.105" v="0"/>
        <pc:sldMkLst>
          <pc:docMk/>
          <pc:sldMk cId="3736741865" sldId="361"/>
        </pc:sldMkLst>
      </pc:sldChg>
      <pc:sldChg chg="del">
        <pc:chgData name="Erdem Agfirat" userId="3def093e706752c9" providerId="Windows Live" clId="Web-{CB7DB60E-1B3D-42D4-B74C-4D570F98FE08}" dt="2025-02-20T11:53:29.855" v="1"/>
        <pc:sldMkLst>
          <pc:docMk/>
          <pc:sldMk cId="1150651287" sldId="389"/>
        </pc:sldMkLst>
      </pc:sldChg>
      <pc:sldChg chg="del">
        <pc:chgData name="Erdem Agfirat" userId="3def093e706752c9" providerId="Windows Live" clId="Web-{CB7DB60E-1B3D-42D4-B74C-4D570F98FE08}" dt="2025-02-20T11:53:31.292" v="2"/>
        <pc:sldMkLst>
          <pc:docMk/>
          <pc:sldMk cId="1700137246" sldId="390"/>
        </pc:sldMkLst>
      </pc:sldChg>
      <pc:sldChg chg="del">
        <pc:chgData name="Erdem Agfirat" userId="3def093e706752c9" providerId="Windows Live" clId="Web-{CB7DB60E-1B3D-42D4-B74C-4D570F98FE08}" dt="2025-02-20T11:53:32.777" v="3"/>
        <pc:sldMkLst>
          <pc:docMk/>
          <pc:sldMk cId="2927313761" sldId="391"/>
        </pc:sldMkLst>
      </pc:sldChg>
    </pc:docChg>
  </pc:docChgLst>
  <pc:docChgLst>
    <pc:chgData name="Erdem Agfirat" userId="3def093e706752c9" providerId="Windows Live" clId="Web-{D0FC3426-C829-48E4-B0C1-7D520CED6D2C}"/>
    <pc:docChg chg="modSld">
      <pc:chgData name="Erdem Agfirat" userId="3def093e706752c9" providerId="Windows Live" clId="Web-{D0FC3426-C829-48E4-B0C1-7D520CED6D2C}" dt="2025-02-10T14:20:48.550" v="3"/>
      <pc:docMkLst>
        <pc:docMk/>
      </pc:docMkLst>
      <pc:sldChg chg="addSp modSp">
        <pc:chgData name="Erdem Agfirat" userId="3def093e706752c9" providerId="Windows Live" clId="Web-{D0FC3426-C829-48E4-B0C1-7D520CED6D2C}" dt="2025-02-10T14:20:48.550" v="3"/>
        <pc:sldMkLst>
          <pc:docMk/>
          <pc:sldMk cId="2278355680" sldId="394"/>
        </pc:sldMkLst>
      </pc:sldChg>
    </pc:docChg>
  </pc:docChgLst>
  <pc:docChgLst>
    <pc:chgData name="Mustafa Alkaya" userId="aacbf56ada369191" providerId="Windows Live" clId="Web-{D07F57B0-B518-4505-97B6-E38C0E59F1D0}"/>
    <pc:docChg chg="modSld">
      <pc:chgData name="Mustafa Alkaya" userId="aacbf56ada369191" providerId="Windows Live" clId="Web-{D07F57B0-B518-4505-97B6-E38C0E59F1D0}" dt="2025-02-12T07:52:25.958" v="11"/>
      <pc:docMkLst>
        <pc:docMk/>
      </pc:docMkLst>
      <pc:sldChg chg="addSp delSp modSp">
        <pc:chgData name="Mustafa Alkaya" userId="aacbf56ada369191" providerId="Windows Live" clId="Web-{D07F57B0-B518-4505-97B6-E38C0E59F1D0}" dt="2025-02-12T07:52:25.958" v="11"/>
        <pc:sldMkLst>
          <pc:docMk/>
          <pc:sldMk cId="2361145867" sldId="398"/>
        </pc:sldMkLst>
        <pc:spChg chg="add mod">
          <ac:chgData name="Mustafa Alkaya" userId="aacbf56ada369191" providerId="Windows Live" clId="Web-{D07F57B0-B518-4505-97B6-E38C0E59F1D0}" dt="2025-02-12T07:52:25.958" v="11"/>
          <ac:spMkLst>
            <pc:docMk/>
            <pc:sldMk cId="2361145867" sldId="398"/>
            <ac:spMk id="12" creationId="{BFB3FEB0-C318-6344-6C75-A66AEE92B608}"/>
          </ac:spMkLst>
        </pc:spChg>
      </pc:sldChg>
      <pc:sldChg chg="modSp">
        <pc:chgData name="Mustafa Alkaya" userId="aacbf56ada369191" providerId="Windows Live" clId="Web-{D07F57B0-B518-4505-97B6-E38C0E59F1D0}" dt="2025-02-12T07:51:01.643" v="10" actId="1076"/>
        <pc:sldMkLst>
          <pc:docMk/>
          <pc:sldMk cId="4044683214" sldId="420"/>
        </pc:sldMkLst>
        <pc:spChg chg="mod">
          <ac:chgData name="Mustafa Alkaya" userId="aacbf56ada369191" providerId="Windows Live" clId="Web-{D07F57B0-B518-4505-97B6-E38C0E59F1D0}" dt="2025-02-12T07:51:01.643" v="10" actId="1076"/>
          <ac:spMkLst>
            <pc:docMk/>
            <pc:sldMk cId="4044683214" sldId="420"/>
            <ac:spMk id="7" creationId="{E4AB772E-BE4A-C346-B01F-10FE142A1F54}"/>
          </ac:spMkLst>
        </pc:spChg>
      </pc:sldChg>
    </pc:docChg>
  </pc:docChgLst>
  <pc:docChgLst>
    <pc:chgData name="Erdem Agfirat" userId="3def093e706752c9" providerId="LiveId" clId="{D59FC7F5-3B83-4855-A7CF-3AFDFB9EB14D}"/>
    <pc:docChg chg="undo redo custSel addSld modSld sldOrd">
      <pc:chgData name="Erdem Agfirat" userId="3def093e706752c9" providerId="LiveId" clId="{D59FC7F5-3B83-4855-A7CF-3AFDFB9EB14D}" dt="2025-02-12T06:55:46.245" v="3016" actId="20577"/>
      <pc:docMkLst>
        <pc:docMk/>
      </pc:docMkLst>
      <pc:sldChg chg="modSp mod">
        <pc:chgData name="Erdem Agfirat" userId="3def093e706752c9" providerId="LiveId" clId="{D59FC7F5-3B83-4855-A7CF-3AFDFB9EB14D}" dt="2025-02-12T05:55:12.932" v="2963" actId="403"/>
        <pc:sldMkLst>
          <pc:docMk/>
          <pc:sldMk cId="435471241" sldId="323"/>
        </pc:sldMkLst>
        <pc:spChg chg="mod">
          <ac:chgData name="Erdem Agfirat" userId="3def093e706752c9" providerId="LiveId" clId="{D59FC7F5-3B83-4855-A7CF-3AFDFB9EB14D}" dt="2025-02-12T05:55:12.932" v="2963" actId="403"/>
          <ac:spMkLst>
            <pc:docMk/>
            <pc:sldMk cId="435471241" sldId="323"/>
            <ac:spMk id="70" creationId="{F89E0067-88AA-E89E-3F17-BD88C3697FD3}"/>
          </ac:spMkLst>
        </pc:spChg>
      </pc:sldChg>
      <pc:sldChg chg="addSp modSp mod ord">
        <pc:chgData name="Erdem Agfirat" userId="3def093e706752c9" providerId="LiveId" clId="{D59FC7F5-3B83-4855-A7CF-3AFDFB9EB14D}" dt="2025-02-11T23:36:50.599" v="2692" actId="20577"/>
        <pc:sldMkLst>
          <pc:docMk/>
          <pc:sldMk cId="1568747828" sldId="325"/>
        </pc:sldMkLst>
        <pc:spChg chg="mod">
          <ac:chgData name="Erdem Agfirat" userId="3def093e706752c9" providerId="LiveId" clId="{D59FC7F5-3B83-4855-A7CF-3AFDFB9EB14D}" dt="2025-02-09T15:48:34.428" v="175" actId="403"/>
          <ac:spMkLst>
            <pc:docMk/>
            <pc:sldMk cId="1568747828" sldId="325"/>
            <ac:spMk id="5" creationId="{4C866BDF-37D4-CC40-25FD-7B73A7AA7524}"/>
          </ac:spMkLst>
        </pc:spChg>
        <pc:spChg chg="add mod">
          <ac:chgData name="Erdem Agfirat" userId="3def093e706752c9" providerId="LiveId" clId="{D59FC7F5-3B83-4855-A7CF-3AFDFB9EB14D}" dt="2025-02-11T22:58:04.938" v="2683" actId="114"/>
          <ac:spMkLst>
            <pc:docMk/>
            <pc:sldMk cId="1568747828" sldId="325"/>
            <ac:spMk id="6" creationId="{A8999500-B7B3-713D-5DEE-3D7EF1C6ADC4}"/>
          </ac:spMkLst>
        </pc:spChg>
        <pc:spChg chg="mod">
          <ac:chgData name="Erdem Agfirat" userId="3def093e706752c9" providerId="LiveId" clId="{D59FC7F5-3B83-4855-A7CF-3AFDFB9EB14D}" dt="2025-02-11T23:36:50.599" v="2692" actId="20577"/>
          <ac:spMkLst>
            <pc:docMk/>
            <pc:sldMk cId="1568747828" sldId="325"/>
            <ac:spMk id="11" creationId="{EDB4B7C9-B5B2-7650-140D-69ABFD8F65D8}"/>
          </ac:spMkLst>
        </pc:spChg>
        <pc:picChg chg="mod">
          <ac:chgData name="Erdem Agfirat" userId="3def093e706752c9" providerId="LiveId" clId="{D59FC7F5-3B83-4855-A7CF-3AFDFB9EB14D}" dt="2025-02-09T15:12:50.362" v="6" actId="1076"/>
          <ac:picMkLst>
            <pc:docMk/>
            <pc:sldMk cId="1568747828" sldId="325"/>
            <ac:picMk id="7" creationId="{EBA432DE-AD2B-A37D-4639-436E19A23E0E}"/>
          </ac:picMkLst>
        </pc:picChg>
      </pc:sldChg>
      <pc:sldChg chg="addSp delSp modSp mod">
        <pc:chgData name="Erdem Agfirat" userId="3def093e706752c9" providerId="LiveId" clId="{D59FC7F5-3B83-4855-A7CF-3AFDFB9EB14D}" dt="2025-02-11T23:51:08.672" v="2693" actId="478"/>
        <pc:sldMkLst>
          <pc:docMk/>
          <pc:sldMk cId="3752208976" sldId="382"/>
        </pc:sldMkLst>
        <pc:spChg chg="mod">
          <ac:chgData name="Erdem Agfirat" userId="3def093e706752c9" providerId="LiveId" clId="{D59FC7F5-3B83-4855-A7CF-3AFDFB9EB14D}" dt="2025-02-09T15:48:29.404" v="174" actId="403"/>
          <ac:spMkLst>
            <pc:docMk/>
            <pc:sldMk cId="3752208976" sldId="382"/>
            <ac:spMk id="5" creationId="{2276D27E-3D37-A4BC-7CE8-720993DC6F5D}"/>
          </ac:spMkLst>
        </pc:spChg>
        <pc:spChg chg="mod">
          <ac:chgData name="Erdem Agfirat" userId="3def093e706752c9" providerId="LiveId" clId="{D59FC7F5-3B83-4855-A7CF-3AFDFB9EB14D}" dt="2025-02-09T16:28:20.887" v="690" actId="14100"/>
          <ac:spMkLst>
            <pc:docMk/>
            <pc:sldMk cId="3752208976" sldId="382"/>
            <ac:spMk id="7" creationId="{4CAC1E02-7FF7-B6AF-DECA-1F20414DA4E4}"/>
          </ac:spMkLst>
        </pc:spChg>
        <pc:spChg chg="add mod">
          <ac:chgData name="Erdem Agfirat" userId="3def093e706752c9" providerId="LiveId" clId="{D59FC7F5-3B83-4855-A7CF-3AFDFB9EB14D}" dt="2025-02-11T22:58:21.357" v="2685" actId="1076"/>
          <ac:spMkLst>
            <pc:docMk/>
            <pc:sldMk cId="3752208976" sldId="382"/>
            <ac:spMk id="16" creationId="{9D16A7A3-5B5F-D774-A508-D1DD0ABD1259}"/>
          </ac:spMkLst>
        </pc:spChg>
        <pc:picChg chg="mod">
          <ac:chgData name="Erdem Agfirat" userId="3def093e706752c9" providerId="LiveId" clId="{D59FC7F5-3B83-4855-A7CF-3AFDFB9EB14D}" dt="2025-02-09T16:02:59.701" v="576" actId="1076"/>
          <ac:picMkLst>
            <pc:docMk/>
            <pc:sldMk cId="3752208976" sldId="382"/>
            <ac:picMk id="10" creationId="{0B163C35-9FB9-B515-2B10-3FB0810CCDBB}"/>
          </ac:picMkLst>
        </pc:picChg>
      </pc:sldChg>
      <pc:sldChg chg="addSp delSp modSp mod ord">
        <pc:chgData name="Erdem Agfirat" userId="3def093e706752c9" providerId="LiveId" clId="{D59FC7F5-3B83-4855-A7CF-3AFDFB9EB14D}" dt="2025-02-12T01:00:18.396" v="2961" actId="20577"/>
        <pc:sldMkLst>
          <pc:docMk/>
          <pc:sldMk cId="2608332507" sldId="384"/>
        </pc:sldMkLst>
        <pc:spChg chg="add del mod">
          <ac:chgData name="Erdem Agfirat" userId="3def093e706752c9" providerId="LiveId" clId="{D59FC7F5-3B83-4855-A7CF-3AFDFB9EB14D}" dt="2025-02-12T01:00:18.396" v="2961" actId="20577"/>
          <ac:spMkLst>
            <pc:docMk/>
            <pc:sldMk cId="2608332507" sldId="384"/>
            <ac:spMk id="3" creationId="{91BE84D9-2DD0-B6B0-650A-C56270B74585}"/>
          </ac:spMkLst>
        </pc:spChg>
        <pc:spChg chg="mod">
          <ac:chgData name="Erdem Agfirat" userId="3def093e706752c9" providerId="LiveId" clId="{D59FC7F5-3B83-4855-A7CF-3AFDFB9EB14D}" dt="2025-02-09T19:11:41.625" v="1542" actId="403"/>
          <ac:spMkLst>
            <pc:docMk/>
            <pc:sldMk cId="2608332507" sldId="384"/>
            <ac:spMk id="5" creationId="{646B2BC5-DCCF-7A57-EA09-75A5F36DEFFA}"/>
          </ac:spMkLst>
        </pc:spChg>
        <pc:spChg chg="add mod">
          <ac:chgData name="Erdem Agfirat" userId="3def093e706752c9" providerId="LiveId" clId="{D59FC7F5-3B83-4855-A7CF-3AFDFB9EB14D}" dt="2025-02-12T00:48:05.126" v="2837" actId="1076"/>
          <ac:spMkLst>
            <pc:docMk/>
            <pc:sldMk cId="2608332507" sldId="384"/>
            <ac:spMk id="8" creationId="{DB479E79-1DAC-8762-C1D5-37017EAA48E0}"/>
          </ac:spMkLst>
        </pc:spChg>
        <pc:picChg chg="mod">
          <ac:chgData name="Erdem Agfirat" userId="3def093e706752c9" providerId="LiveId" clId="{D59FC7F5-3B83-4855-A7CF-3AFDFB9EB14D}" dt="2025-02-12T00:46:46.725" v="2731" actId="1076"/>
          <ac:picMkLst>
            <pc:docMk/>
            <pc:sldMk cId="2608332507" sldId="384"/>
            <ac:picMk id="7" creationId="{64CC3305-24BB-B17C-A12D-1931C0B641CE}"/>
          </ac:picMkLst>
        </pc:picChg>
      </pc:sldChg>
      <pc:sldChg chg="ord">
        <pc:chgData name="Erdem Agfirat" userId="3def093e706752c9" providerId="LiveId" clId="{D59FC7F5-3B83-4855-A7CF-3AFDFB9EB14D}" dt="2025-02-11T16:04:24.720" v="2619"/>
        <pc:sldMkLst>
          <pc:docMk/>
          <pc:sldMk cId="2440610122" sldId="385"/>
        </pc:sldMkLst>
      </pc:sldChg>
      <pc:sldChg chg="modSp mod">
        <pc:chgData name="Erdem Agfirat" userId="3def093e706752c9" providerId="LiveId" clId="{D59FC7F5-3B83-4855-A7CF-3AFDFB9EB14D}" dt="2025-02-11T12:38:28.230" v="2617" actId="21"/>
        <pc:sldMkLst>
          <pc:docMk/>
          <pc:sldMk cId="1700137246" sldId="390"/>
        </pc:sldMkLst>
        <pc:spChg chg="mod">
          <ac:chgData name="Erdem Agfirat" userId="3def093e706752c9" providerId="LiveId" clId="{D59FC7F5-3B83-4855-A7CF-3AFDFB9EB14D}" dt="2025-02-11T12:38:28.230" v="2617" actId="21"/>
          <ac:spMkLst>
            <pc:docMk/>
            <pc:sldMk cId="1700137246" sldId="390"/>
            <ac:spMk id="6" creationId="{8E84FF58-466C-A274-693E-6EFCADEACF79}"/>
          </ac:spMkLst>
        </pc:spChg>
      </pc:sldChg>
      <pc:sldChg chg="addSp delSp modSp mod">
        <pc:chgData name="Erdem Agfirat" userId="3def093e706752c9" providerId="LiveId" clId="{D59FC7F5-3B83-4855-A7CF-3AFDFB9EB14D}" dt="2025-02-12T00:20:09.463" v="2695" actId="20577"/>
        <pc:sldMkLst>
          <pc:docMk/>
          <pc:sldMk cId="3414180287" sldId="392"/>
        </pc:sldMkLst>
        <pc:spChg chg="mod">
          <ac:chgData name="Erdem Agfirat" userId="3def093e706752c9" providerId="LiveId" clId="{D59FC7F5-3B83-4855-A7CF-3AFDFB9EB14D}" dt="2025-02-09T16:28:38.777" v="691" actId="403"/>
          <ac:spMkLst>
            <pc:docMk/>
            <pc:sldMk cId="3414180287" sldId="392"/>
            <ac:spMk id="5" creationId="{71C8B138-C201-2239-2EAC-8AB7A5B0D166}"/>
          </ac:spMkLst>
        </pc:spChg>
        <pc:spChg chg="mod">
          <ac:chgData name="Erdem Agfirat" userId="3def093e706752c9" providerId="LiveId" clId="{D59FC7F5-3B83-4855-A7CF-3AFDFB9EB14D}" dt="2025-02-11T22:58:27.090" v="2686" actId="114"/>
          <ac:spMkLst>
            <pc:docMk/>
            <pc:sldMk cId="3414180287" sldId="392"/>
            <ac:spMk id="10" creationId="{ABB78EEA-C92C-51BB-1F8A-D77617A98029}"/>
          </ac:spMkLst>
        </pc:spChg>
        <pc:spChg chg="mod">
          <ac:chgData name="Erdem Agfirat" userId="3def093e706752c9" providerId="LiveId" clId="{D59FC7F5-3B83-4855-A7CF-3AFDFB9EB14D}" dt="2025-02-11T22:58:30.019" v="2687" actId="114"/>
          <ac:spMkLst>
            <pc:docMk/>
            <pc:sldMk cId="3414180287" sldId="392"/>
            <ac:spMk id="11" creationId="{692B966C-9EE5-969E-407D-DE8DB071E7F1}"/>
          </ac:spMkLst>
        </pc:spChg>
        <pc:spChg chg="mod">
          <ac:chgData name="Erdem Agfirat" userId="3def093e706752c9" providerId="LiveId" clId="{D59FC7F5-3B83-4855-A7CF-3AFDFB9EB14D}" dt="2025-02-12T00:20:09.463" v="2695" actId="20577"/>
          <ac:spMkLst>
            <pc:docMk/>
            <pc:sldMk cId="3414180287" sldId="392"/>
            <ac:spMk id="12" creationId="{78B3BABE-7DE7-4DD2-4E57-3C33C3133A8A}"/>
          </ac:spMkLst>
        </pc:spChg>
        <pc:picChg chg="mod">
          <ac:chgData name="Erdem Agfirat" userId="3def093e706752c9" providerId="LiveId" clId="{D59FC7F5-3B83-4855-A7CF-3AFDFB9EB14D}" dt="2025-02-09T16:28:49.605" v="693" actId="1076"/>
          <ac:picMkLst>
            <pc:docMk/>
            <pc:sldMk cId="3414180287" sldId="392"/>
            <ac:picMk id="3" creationId="{DB14FBFB-50E3-F792-24AD-573D16774A24}"/>
          </ac:picMkLst>
        </pc:picChg>
        <pc:picChg chg="mod">
          <ac:chgData name="Erdem Agfirat" userId="3def093e706752c9" providerId="LiveId" clId="{D59FC7F5-3B83-4855-A7CF-3AFDFB9EB14D}" dt="2025-02-09T16:28:49.605" v="693" actId="1076"/>
          <ac:picMkLst>
            <pc:docMk/>
            <pc:sldMk cId="3414180287" sldId="392"/>
            <ac:picMk id="7" creationId="{68D3AE86-808D-0D16-540C-015244185456}"/>
          </ac:picMkLst>
        </pc:picChg>
      </pc:sldChg>
      <pc:sldChg chg="addSp delSp modSp mod">
        <pc:chgData name="Erdem Agfirat" userId="3def093e706752c9" providerId="LiveId" clId="{D59FC7F5-3B83-4855-A7CF-3AFDFB9EB14D}" dt="2025-02-11T22:58:33.472" v="2688" actId="114"/>
        <pc:sldMkLst>
          <pc:docMk/>
          <pc:sldMk cId="2890405448" sldId="393"/>
        </pc:sldMkLst>
        <pc:spChg chg="mod">
          <ac:chgData name="Erdem Agfirat" userId="3def093e706752c9" providerId="LiveId" clId="{D59FC7F5-3B83-4855-A7CF-3AFDFB9EB14D}" dt="2025-02-11T11:31:25.737" v="2611" actId="403"/>
          <ac:spMkLst>
            <pc:docMk/>
            <pc:sldMk cId="2890405448" sldId="393"/>
            <ac:spMk id="5" creationId="{9D4028AF-1B9E-C988-D107-BD9961E5576D}"/>
          </ac:spMkLst>
        </pc:spChg>
        <pc:spChg chg="mod">
          <ac:chgData name="Erdem Agfirat" userId="3def093e706752c9" providerId="LiveId" clId="{D59FC7F5-3B83-4855-A7CF-3AFDFB9EB14D}" dt="2025-02-11T11:31:29.232" v="2612" actId="403"/>
          <ac:spMkLst>
            <pc:docMk/>
            <pc:sldMk cId="2890405448" sldId="393"/>
            <ac:spMk id="7" creationId="{89D3357C-2A35-70FA-C947-5B6F7EA19837}"/>
          </ac:spMkLst>
        </pc:spChg>
        <pc:spChg chg="add mod">
          <ac:chgData name="Erdem Agfirat" userId="3def093e706752c9" providerId="LiveId" clId="{D59FC7F5-3B83-4855-A7CF-3AFDFB9EB14D}" dt="2025-02-11T22:58:33.472" v="2688" actId="114"/>
          <ac:spMkLst>
            <pc:docMk/>
            <pc:sldMk cId="2890405448" sldId="393"/>
            <ac:spMk id="14" creationId="{CC158EE3-DEBD-91C1-0268-60524E69E52D}"/>
          </ac:spMkLst>
        </pc:spChg>
        <pc:picChg chg="mod">
          <ac:chgData name="Erdem Agfirat" userId="3def093e706752c9" providerId="LiveId" clId="{D59FC7F5-3B83-4855-A7CF-3AFDFB9EB14D}" dt="2025-02-11T11:31:34.510" v="2614" actId="1076"/>
          <ac:picMkLst>
            <pc:docMk/>
            <pc:sldMk cId="2890405448" sldId="393"/>
            <ac:picMk id="12" creationId="{02C73651-AB71-B468-EF6A-9988486C15EC}"/>
          </ac:picMkLst>
        </pc:picChg>
      </pc:sldChg>
      <pc:sldChg chg="addSp delSp modSp mod">
        <pc:chgData name="Erdem Agfirat" userId="3def093e706752c9" providerId="LiveId" clId="{D59FC7F5-3B83-4855-A7CF-3AFDFB9EB14D}" dt="2025-02-12T06:55:46.245" v="3016" actId="20577"/>
        <pc:sldMkLst>
          <pc:docMk/>
          <pc:sldMk cId="2278355680" sldId="394"/>
        </pc:sldMkLst>
        <pc:spChg chg="mod">
          <ac:chgData name="Erdem Agfirat" userId="3def093e706752c9" providerId="LiveId" clId="{D59FC7F5-3B83-4855-A7CF-3AFDFB9EB14D}" dt="2025-02-12T06:55:46.245" v="3016" actId="20577"/>
          <ac:spMkLst>
            <pc:docMk/>
            <pc:sldMk cId="2278355680" sldId="394"/>
            <ac:spMk id="2" creationId="{2C916CAB-2EFB-2587-97E9-735B6EAABF3E}"/>
          </ac:spMkLst>
        </pc:spChg>
        <pc:spChg chg="mod">
          <ac:chgData name="Erdem Agfirat" userId="3def093e706752c9" providerId="LiveId" clId="{D59FC7F5-3B83-4855-A7CF-3AFDFB9EB14D}" dt="2025-02-11T16:52:55.827" v="2625" actId="403"/>
          <ac:spMkLst>
            <pc:docMk/>
            <pc:sldMk cId="2278355680" sldId="394"/>
            <ac:spMk id="5" creationId="{853B3447-39D8-A060-B3D9-6BF6245472D9}"/>
          </ac:spMkLst>
        </pc:spChg>
        <pc:spChg chg="add mod">
          <ac:chgData name="Erdem Agfirat" userId="3def093e706752c9" providerId="LiveId" clId="{D59FC7F5-3B83-4855-A7CF-3AFDFB9EB14D}" dt="2025-02-12T00:46:36.718" v="2728" actId="1076"/>
          <ac:spMkLst>
            <pc:docMk/>
            <pc:sldMk cId="2278355680" sldId="394"/>
            <ac:spMk id="7" creationId="{54E1B9C0-ACD2-88CF-D588-E78FECD5E8BB}"/>
          </ac:spMkLst>
        </pc:spChg>
        <pc:spChg chg="mod">
          <ac:chgData name="Erdem Agfirat" userId="3def093e706752c9" providerId="LiveId" clId="{D59FC7F5-3B83-4855-A7CF-3AFDFB9EB14D}" dt="2025-02-11T18:06:41.395" v="2629" actId="5793"/>
          <ac:spMkLst>
            <pc:docMk/>
            <pc:sldMk cId="2278355680" sldId="394"/>
            <ac:spMk id="8" creationId="{A8CA8389-94DD-F83C-A4DB-3FCFDEA1D5E9}"/>
          </ac:spMkLst>
        </pc:spChg>
        <pc:picChg chg="add del mod">
          <ac:chgData name="Erdem Agfirat" userId="3def093e706752c9" providerId="LiveId" clId="{D59FC7F5-3B83-4855-A7CF-3AFDFB9EB14D}" dt="2025-02-11T20:17:35.716" v="2635" actId="21"/>
          <ac:picMkLst>
            <pc:docMk/>
            <pc:sldMk cId="2278355680" sldId="394"/>
            <ac:picMk id="3" creationId="{D0D03B9A-76CF-7437-16D8-0F96C84DB86D}"/>
          </ac:picMkLst>
        </pc:picChg>
      </pc:sldChg>
      <pc:sldChg chg="delSp modSp add mod">
        <pc:chgData name="Erdem Agfirat" userId="3def093e706752c9" providerId="LiveId" clId="{D59FC7F5-3B83-4855-A7CF-3AFDFB9EB14D}" dt="2025-02-11T09:02:59.226" v="2536" actId="20577"/>
        <pc:sldMkLst>
          <pc:docMk/>
          <pc:sldMk cId="2328512398" sldId="400"/>
        </pc:sldMkLst>
      </pc:sldChg>
    </pc:docChg>
  </pc:docChgLst>
  <pc:docChgLst>
    <pc:chgData name="Erdem Agfirat" userId="3def093e706752c9" providerId="Windows Live" clId="Web-{C0FD5AA7-EAF6-46C7-B77B-62F65D08D140}"/>
    <pc:docChg chg="addSld delSld modSld sldOrd">
      <pc:chgData name="Erdem Agfirat" userId="3def093e706752c9" providerId="Windows Live" clId="Web-{C0FD5AA7-EAF6-46C7-B77B-62F65D08D140}" dt="2025-02-09T12:30:40.711" v="1826" actId="1076"/>
      <pc:docMkLst>
        <pc:docMk/>
      </pc:docMkLst>
      <pc:sldChg chg="modSp ord">
        <pc:chgData name="Erdem Agfirat" userId="3def093e706752c9" providerId="Windows Live" clId="Web-{C0FD5AA7-EAF6-46C7-B77B-62F65D08D140}" dt="2025-02-09T11:40:15.017" v="983" actId="20577"/>
        <pc:sldMkLst>
          <pc:docMk/>
          <pc:sldMk cId="1568747828" sldId="325"/>
        </pc:sldMkLst>
        <pc:spChg chg="mod">
          <ac:chgData name="Erdem Agfirat" userId="3def093e706752c9" providerId="Windows Live" clId="Web-{C0FD5AA7-EAF6-46C7-B77B-62F65D08D140}" dt="2025-02-09T11:40:15.017" v="983" actId="20577"/>
          <ac:spMkLst>
            <pc:docMk/>
            <pc:sldMk cId="1568747828" sldId="325"/>
            <ac:spMk id="5" creationId="{4C866BDF-37D4-CC40-25FD-7B73A7AA7524}"/>
          </ac:spMkLst>
        </pc:spChg>
      </pc:sldChg>
      <pc:sldChg chg="delSp del">
        <pc:chgData name="Erdem Agfirat" userId="3def093e706752c9" providerId="Windows Live" clId="Web-{C0FD5AA7-EAF6-46C7-B77B-62F65D08D140}" dt="2025-02-09T12:13:16.958" v="1250"/>
        <pc:sldMkLst>
          <pc:docMk/>
          <pc:sldMk cId="2899606391" sldId="356"/>
        </pc:sldMkLst>
      </pc:sldChg>
      <pc:sldChg chg="addSp delSp modSp">
        <pc:chgData name="Erdem Agfirat" userId="3def093e706752c9" providerId="Windows Live" clId="Web-{C0FD5AA7-EAF6-46C7-B77B-62F65D08D140}" dt="2025-02-09T12:15:59.495" v="1293" actId="1076"/>
        <pc:sldMkLst>
          <pc:docMk/>
          <pc:sldMk cId="3752208976" sldId="382"/>
        </pc:sldMkLst>
        <pc:spChg chg="mod">
          <ac:chgData name="Erdem Agfirat" userId="3def093e706752c9" providerId="Windows Live" clId="Web-{C0FD5AA7-EAF6-46C7-B77B-62F65D08D140}" dt="2025-02-09T11:12:32.468" v="103" actId="20577"/>
          <ac:spMkLst>
            <pc:docMk/>
            <pc:sldMk cId="3752208976" sldId="382"/>
            <ac:spMk id="5" creationId="{2276D27E-3D37-A4BC-7CE8-720993DC6F5D}"/>
          </ac:spMkLst>
        </pc:spChg>
        <pc:spChg chg="add mod">
          <ac:chgData name="Erdem Agfirat" userId="3def093e706752c9" providerId="Windows Live" clId="Web-{C0FD5AA7-EAF6-46C7-B77B-62F65D08D140}" dt="2025-02-09T11:44:51.401" v="1001" actId="20577"/>
          <ac:spMkLst>
            <pc:docMk/>
            <pc:sldMk cId="3752208976" sldId="382"/>
            <ac:spMk id="7" creationId="{4CAC1E02-7FF7-B6AF-DECA-1F20414DA4E4}"/>
          </ac:spMkLst>
        </pc:spChg>
        <pc:picChg chg="add mod">
          <ac:chgData name="Erdem Agfirat" userId="3def093e706752c9" providerId="Windows Live" clId="Web-{C0FD5AA7-EAF6-46C7-B77B-62F65D08D140}" dt="2025-02-09T11:16:45.898" v="408" actId="1076"/>
          <ac:picMkLst>
            <pc:docMk/>
            <pc:sldMk cId="3752208976" sldId="382"/>
            <ac:picMk id="10" creationId="{0B163C35-9FB9-B515-2B10-3FB0810CCDBB}"/>
          </ac:picMkLst>
        </pc:picChg>
      </pc:sldChg>
      <pc:sldChg chg="modSp ord">
        <pc:chgData name="Erdem Agfirat" userId="3def093e706752c9" providerId="Windows Live" clId="Web-{C0FD5AA7-EAF6-46C7-B77B-62F65D08D140}" dt="2025-02-09T12:24:30.293" v="1821" actId="20577"/>
        <pc:sldMkLst>
          <pc:docMk/>
          <pc:sldMk cId="2608332507" sldId="384"/>
        </pc:sldMkLst>
        <pc:spChg chg="mod">
          <ac:chgData name="Erdem Agfirat" userId="3def093e706752c9" providerId="Windows Live" clId="Web-{C0FD5AA7-EAF6-46C7-B77B-62F65D08D140}" dt="2025-02-09T12:24:30.293" v="1821" actId="20577"/>
          <ac:spMkLst>
            <pc:docMk/>
            <pc:sldMk cId="2608332507" sldId="384"/>
            <ac:spMk id="5" creationId="{646B2BC5-DCCF-7A57-EA09-75A5F36DEFFA}"/>
          </ac:spMkLst>
        </pc:spChg>
      </pc:sldChg>
      <pc:sldChg chg="del">
        <pc:chgData name="Erdem Agfirat" userId="3def093e706752c9" providerId="Windows Live" clId="Web-{C0FD5AA7-EAF6-46C7-B77B-62F65D08D140}" dt="2025-02-09T09:02:53.066" v="23"/>
        <pc:sldMkLst>
          <pc:docMk/>
          <pc:sldMk cId="233492374" sldId="387"/>
        </pc:sldMkLst>
      </pc:sldChg>
      <pc:sldChg chg="addSp delSp modSp add replId">
        <pc:chgData name="Erdem Agfirat" userId="3def093e706752c9" providerId="Windows Live" clId="Web-{C0FD5AA7-EAF6-46C7-B77B-62F65D08D140}" dt="2025-02-09T11:38:04.403" v="882" actId="20577"/>
        <pc:sldMkLst>
          <pc:docMk/>
          <pc:sldMk cId="3414180287" sldId="392"/>
        </pc:sldMkLst>
        <pc:spChg chg="add mod">
          <ac:chgData name="Erdem Agfirat" userId="3def093e706752c9" providerId="Windows Live" clId="Web-{C0FD5AA7-EAF6-46C7-B77B-62F65D08D140}" dt="2025-02-09T11:36:00.680" v="874" actId="1076"/>
          <ac:spMkLst>
            <pc:docMk/>
            <pc:sldMk cId="3414180287" sldId="392"/>
            <ac:spMk id="10" creationId="{ABB78EEA-C92C-51BB-1F8A-D77617A98029}"/>
          </ac:spMkLst>
        </pc:spChg>
        <pc:spChg chg="add mod">
          <ac:chgData name="Erdem Agfirat" userId="3def093e706752c9" providerId="Windows Live" clId="Web-{C0FD5AA7-EAF6-46C7-B77B-62F65D08D140}" dt="2025-02-09T11:36:04.431" v="875" actId="1076"/>
          <ac:spMkLst>
            <pc:docMk/>
            <pc:sldMk cId="3414180287" sldId="392"/>
            <ac:spMk id="11" creationId="{692B966C-9EE5-969E-407D-DE8DB071E7F1}"/>
          </ac:spMkLst>
        </pc:spChg>
        <pc:spChg chg="add mod">
          <ac:chgData name="Erdem Agfirat" userId="3def093e706752c9" providerId="Windows Live" clId="Web-{C0FD5AA7-EAF6-46C7-B77B-62F65D08D140}" dt="2025-02-09T11:38:04.403" v="882" actId="20577"/>
          <ac:spMkLst>
            <pc:docMk/>
            <pc:sldMk cId="3414180287" sldId="392"/>
            <ac:spMk id="12" creationId="{78B3BABE-7DE7-4DD2-4E57-3C33C3133A8A}"/>
          </ac:spMkLst>
        </pc:spChg>
        <pc:picChg chg="add mod">
          <ac:chgData name="Erdem Agfirat" userId="3def093e706752c9" providerId="Windows Live" clId="Web-{C0FD5AA7-EAF6-46C7-B77B-62F65D08D140}" dt="2025-02-09T11:36:08.165" v="877" actId="1076"/>
          <ac:picMkLst>
            <pc:docMk/>
            <pc:sldMk cId="3414180287" sldId="392"/>
            <ac:picMk id="3" creationId="{DB14FBFB-50E3-F792-24AD-573D16774A24}"/>
          </ac:picMkLst>
        </pc:picChg>
        <pc:picChg chg="add mod">
          <ac:chgData name="Erdem Agfirat" userId="3def093e706752c9" providerId="Windows Live" clId="Web-{C0FD5AA7-EAF6-46C7-B77B-62F65D08D140}" dt="2025-02-09T11:36:06.649" v="876" actId="1076"/>
          <ac:picMkLst>
            <pc:docMk/>
            <pc:sldMk cId="3414180287" sldId="392"/>
            <ac:picMk id="7" creationId="{68D3AE86-808D-0D16-540C-015244185456}"/>
          </ac:picMkLst>
        </pc:picChg>
      </pc:sldChg>
      <pc:sldChg chg="addSp delSp modSp add replId">
        <pc:chgData name="Erdem Agfirat" userId="3def093e706752c9" providerId="Windows Live" clId="Web-{C0FD5AA7-EAF6-46C7-B77B-62F65D08D140}" dt="2025-02-09T12:12:11.378" v="1234" actId="1076"/>
        <pc:sldMkLst>
          <pc:docMk/>
          <pc:sldMk cId="2890405448" sldId="393"/>
        </pc:sldMkLst>
        <pc:spChg chg="mod">
          <ac:chgData name="Erdem Agfirat" userId="3def093e706752c9" providerId="Windows Live" clId="Web-{C0FD5AA7-EAF6-46C7-B77B-62F65D08D140}" dt="2025-02-09T12:07:43.744" v="1056" actId="20577"/>
          <ac:spMkLst>
            <pc:docMk/>
            <pc:sldMk cId="2890405448" sldId="393"/>
            <ac:spMk id="5" creationId="{9D4028AF-1B9E-C988-D107-BD9961E5576D}"/>
          </ac:spMkLst>
        </pc:spChg>
        <pc:spChg chg="add mod">
          <ac:chgData name="Erdem Agfirat" userId="3def093e706752c9" providerId="Windows Live" clId="Web-{C0FD5AA7-EAF6-46C7-B77B-62F65D08D140}" dt="2025-02-09T12:11:41.627" v="1231" actId="20577"/>
          <ac:spMkLst>
            <pc:docMk/>
            <pc:sldMk cId="2890405448" sldId="393"/>
            <ac:spMk id="7" creationId="{89D3357C-2A35-70FA-C947-5B6F7EA19837}"/>
          </ac:spMkLst>
        </pc:spChg>
        <pc:picChg chg="add mod modCrop">
          <ac:chgData name="Erdem Agfirat" userId="3def093e706752c9" providerId="Windows Live" clId="Web-{C0FD5AA7-EAF6-46C7-B77B-62F65D08D140}" dt="2025-02-09T12:12:11.378" v="1234" actId="1076"/>
          <ac:picMkLst>
            <pc:docMk/>
            <pc:sldMk cId="2890405448" sldId="393"/>
            <ac:picMk id="12" creationId="{02C73651-AB71-B468-EF6A-9988486C15EC}"/>
          </ac:picMkLst>
        </pc:picChg>
      </pc:sldChg>
      <pc:sldChg chg="addSp delSp modSp add replId">
        <pc:chgData name="Erdem Agfirat" userId="3def093e706752c9" providerId="Windows Live" clId="Web-{C0FD5AA7-EAF6-46C7-B77B-62F65D08D140}" dt="2025-02-09T12:30:40.711" v="1826" actId="1076"/>
        <pc:sldMkLst>
          <pc:docMk/>
          <pc:sldMk cId="2278355680" sldId="394"/>
        </pc:sldMkLst>
        <pc:spChg chg="mod">
          <ac:chgData name="Erdem Agfirat" userId="3def093e706752c9" providerId="Windows Live" clId="Web-{C0FD5AA7-EAF6-46C7-B77B-62F65D08D140}" dt="2025-02-09T12:14:22.570" v="1285" actId="20577"/>
          <ac:spMkLst>
            <pc:docMk/>
            <pc:sldMk cId="2278355680" sldId="394"/>
            <ac:spMk id="5" creationId="{853B3447-39D8-A060-B3D9-6BF6245472D9}"/>
          </ac:spMkLst>
        </pc:spChg>
        <pc:spChg chg="add mod">
          <ac:chgData name="Erdem Agfirat" userId="3def093e706752c9" providerId="Windows Live" clId="Web-{C0FD5AA7-EAF6-46C7-B77B-62F65D08D140}" dt="2025-02-09T12:24:07.230" v="1783" actId="20577"/>
          <ac:spMkLst>
            <pc:docMk/>
            <pc:sldMk cId="2278355680" sldId="394"/>
            <ac:spMk id="8" creationId="{A8CA8389-94DD-F83C-A4DB-3FCFDEA1D5E9}"/>
          </ac:spMkLst>
        </pc:spChg>
        <pc:picChg chg="add mod">
          <ac:chgData name="Erdem Agfirat" userId="3def093e706752c9" providerId="Windows Live" clId="Web-{C0FD5AA7-EAF6-46C7-B77B-62F65D08D140}" dt="2025-02-09T12:14:28.601" v="1287" actId="1076"/>
          <ac:picMkLst>
            <pc:docMk/>
            <pc:sldMk cId="2278355680" sldId="394"/>
            <ac:picMk id="3" creationId="{D0D03B9A-76CF-7437-16D8-0F96C84DB86D}"/>
          </ac:picMkLst>
        </pc:picChg>
      </pc:sldChg>
      <pc:sldChg chg="add del replId">
        <pc:chgData name="Erdem Agfirat" userId="3def093e706752c9" providerId="Windows Live" clId="Web-{C0FD5AA7-EAF6-46C7-B77B-62F65D08D140}" dt="2025-02-09T12:24:37.574" v="1823"/>
        <pc:sldMkLst>
          <pc:docMk/>
          <pc:sldMk cId="1179488211" sldId="396"/>
        </pc:sldMkLst>
      </pc:sldChg>
    </pc:docChg>
  </pc:docChgLst>
  <pc:docChgLst>
    <pc:chgData name="Agah Celebi" userId="5990b23d9d5bc4c9" providerId="Windows Live" clId="Web-{C0FEE3D5-F501-4986-8E1A-A725FB7AADA2}"/>
    <pc:docChg chg="addSld delSld modSld sldOrd">
      <pc:chgData name="Agah Celebi" userId="5990b23d9d5bc4c9" providerId="Windows Live" clId="Web-{C0FEE3D5-F501-4986-8E1A-A725FB7AADA2}" dt="2025-02-11T18:51:18.832" v="3377" actId="20577"/>
      <pc:docMkLst>
        <pc:docMk/>
      </pc:docMkLst>
      <pc:sldChg chg="addSp delSp modSp del mod modClrScheme chgLayout">
        <pc:chgData name="Agah Celebi" userId="5990b23d9d5bc4c9" providerId="Windows Live" clId="Web-{C0FEE3D5-F501-4986-8E1A-A725FB7AADA2}" dt="2025-02-11T13:35:51.414" v="144"/>
        <pc:sldMkLst>
          <pc:docMk/>
          <pc:sldMk cId="3921962684" sldId="345"/>
        </pc:sldMkLst>
      </pc:sldChg>
      <pc:sldChg chg="modSp">
        <pc:chgData name="Agah Celebi" userId="5990b23d9d5bc4c9" providerId="Windows Live" clId="Web-{C0FEE3D5-F501-4986-8E1A-A725FB7AADA2}" dt="2025-02-11T18:25:24.984" v="3165" actId="20577"/>
        <pc:sldMkLst>
          <pc:docMk/>
          <pc:sldMk cId="4096807509" sldId="349"/>
        </pc:sldMkLst>
      </pc:sldChg>
      <pc:sldChg chg="ord">
        <pc:chgData name="Agah Celebi" userId="5990b23d9d5bc4c9" providerId="Windows Live" clId="Web-{C0FEE3D5-F501-4986-8E1A-A725FB7AADA2}" dt="2025-02-11T16:40:25.932" v="2825"/>
        <pc:sldMkLst>
          <pc:docMk/>
          <pc:sldMk cId="2378787593" sldId="363"/>
        </pc:sldMkLst>
      </pc:sldChg>
      <pc:sldChg chg="addSp delSp modSp mod modClrScheme chgLayout">
        <pc:chgData name="Agah Celebi" userId="5990b23d9d5bc4c9" providerId="Windows Live" clId="Web-{C0FEE3D5-F501-4986-8E1A-A725FB7AADA2}" dt="2025-02-11T13:32:40.547" v="88" actId="20577"/>
        <pc:sldMkLst>
          <pc:docMk/>
          <pc:sldMk cId="2822033000" sldId="365"/>
        </pc:sldMkLst>
        <pc:spChg chg="mod">
          <ac:chgData name="Agah Celebi" userId="5990b23d9d5bc4c9" providerId="Windows Live" clId="Web-{C0FEE3D5-F501-4986-8E1A-A725FB7AADA2}" dt="2025-02-11T13:31:46.122" v="12"/>
          <ac:spMkLst>
            <pc:docMk/>
            <pc:sldMk cId="2822033000" sldId="365"/>
            <ac:spMk id="2" creationId="{CC6E139F-B311-9445-DA83-264BFCDF643B}"/>
          </ac:spMkLst>
        </pc:spChg>
        <pc:spChg chg="mod">
          <ac:chgData name="Agah Celebi" userId="5990b23d9d5bc4c9" providerId="Windows Live" clId="Web-{C0FEE3D5-F501-4986-8E1A-A725FB7AADA2}" dt="2025-02-11T13:31:46.122" v="12"/>
          <ac:spMkLst>
            <pc:docMk/>
            <pc:sldMk cId="2822033000" sldId="365"/>
            <ac:spMk id="4" creationId="{0BBE3EA3-59BB-3E6A-E707-A1273FE5BCAA}"/>
          </ac:spMkLst>
        </pc:spChg>
        <pc:spChg chg="mod ord">
          <ac:chgData name="Agah Celebi" userId="5990b23d9d5bc4c9" providerId="Windows Live" clId="Web-{C0FEE3D5-F501-4986-8E1A-A725FB7AADA2}" dt="2025-02-11T13:31:46.122" v="12"/>
          <ac:spMkLst>
            <pc:docMk/>
            <pc:sldMk cId="2822033000" sldId="365"/>
            <ac:spMk id="5" creationId="{5F86B8C1-D94E-8A9E-D4AC-C088C7036286}"/>
          </ac:spMkLst>
        </pc:spChg>
        <pc:spChg chg="add mod">
          <ac:chgData name="Agah Celebi" userId="5990b23d9d5bc4c9" providerId="Windows Live" clId="Web-{C0FEE3D5-F501-4986-8E1A-A725FB7AADA2}" dt="2025-02-11T13:32:40.547" v="88" actId="20577"/>
          <ac:spMkLst>
            <pc:docMk/>
            <pc:sldMk cId="2822033000" sldId="365"/>
            <ac:spMk id="12" creationId="{B25CC4D6-209E-37C9-E512-A3E95EC51767}"/>
          </ac:spMkLst>
        </pc:spChg>
        <pc:picChg chg="add mod">
          <ac:chgData name="Agah Celebi" userId="5990b23d9d5bc4c9" providerId="Windows Live" clId="Web-{C0FEE3D5-F501-4986-8E1A-A725FB7AADA2}" dt="2025-02-11T13:31:46.122" v="12"/>
          <ac:picMkLst>
            <pc:docMk/>
            <pc:sldMk cId="2822033000" sldId="365"/>
            <ac:picMk id="7" creationId="{82F22AE8-6D17-882F-3074-60D223AC74CD}"/>
          </ac:picMkLst>
        </pc:picChg>
      </pc:sldChg>
      <pc:sldChg chg="modSp">
        <pc:chgData name="Agah Celebi" userId="5990b23d9d5bc4c9" providerId="Windows Live" clId="Web-{C0FEE3D5-F501-4986-8E1A-A725FB7AADA2}" dt="2025-02-11T18:51:18.832" v="3377" actId="20577"/>
        <pc:sldMkLst>
          <pc:docMk/>
          <pc:sldMk cId="616956915" sldId="367"/>
        </pc:sldMkLst>
      </pc:sldChg>
      <pc:sldChg chg="modSp">
        <pc:chgData name="Agah Celebi" userId="5990b23d9d5bc4c9" providerId="Windows Live" clId="Web-{C0FEE3D5-F501-4986-8E1A-A725FB7AADA2}" dt="2025-02-11T18:24:08.246" v="3133" actId="1076"/>
        <pc:sldMkLst>
          <pc:docMk/>
          <pc:sldMk cId="305887204" sldId="373"/>
        </pc:sldMkLst>
        <pc:picChg chg="mod">
          <ac:chgData name="Agah Celebi" userId="5990b23d9d5bc4c9" providerId="Windows Live" clId="Web-{C0FEE3D5-F501-4986-8E1A-A725FB7AADA2}" dt="2025-02-11T18:24:08.246" v="3133" actId="1076"/>
          <ac:picMkLst>
            <pc:docMk/>
            <pc:sldMk cId="305887204" sldId="373"/>
            <ac:picMk id="13" creationId="{A8ED2C03-D13F-A5DD-702C-B05464FAD116}"/>
          </ac:picMkLst>
        </pc:picChg>
        <pc:picChg chg="mod">
          <ac:chgData name="Agah Celebi" userId="5990b23d9d5bc4c9" providerId="Windows Live" clId="Web-{C0FEE3D5-F501-4986-8E1A-A725FB7AADA2}" dt="2025-02-11T18:24:05.371" v="3132" actId="1076"/>
          <ac:picMkLst>
            <pc:docMk/>
            <pc:sldMk cId="305887204" sldId="373"/>
            <ac:picMk id="14" creationId="{C2252AD5-8C75-A13C-82DC-BCA2BEC466D8}"/>
          </ac:picMkLst>
        </pc:picChg>
      </pc:sldChg>
      <pc:sldChg chg="modSp">
        <pc:chgData name="Agah Celebi" userId="5990b23d9d5bc4c9" providerId="Windows Live" clId="Web-{C0FEE3D5-F501-4986-8E1A-A725FB7AADA2}" dt="2025-02-11T18:24:58.967" v="3161" actId="20577"/>
        <pc:sldMkLst>
          <pc:docMk/>
          <pc:sldMk cId="1075792875" sldId="374"/>
        </pc:sldMkLst>
        <pc:spChg chg="mod">
          <ac:chgData name="Agah Celebi" userId="5990b23d9d5bc4c9" providerId="Windows Live" clId="Web-{C0FEE3D5-F501-4986-8E1A-A725FB7AADA2}" dt="2025-02-11T18:24:58.967" v="3161" actId="20577"/>
          <ac:spMkLst>
            <pc:docMk/>
            <pc:sldMk cId="1075792875" sldId="374"/>
            <ac:spMk id="6" creationId="{ECE6685B-57AD-ADD4-4507-8D215B8795BF}"/>
          </ac:spMkLst>
        </pc:spChg>
      </pc:sldChg>
      <pc:sldChg chg="del">
        <pc:chgData name="Agah Celebi" userId="5990b23d9d5bc4c9" providerId="Windows Live" clId="Web-{C0FEE3D5-F501-4986-8E1A-A725FB7AADA2}" dt="2025-02-10T12:30:07.834" v="0"/>
        <pc:sldMkLst>
          <pc:docMk/>
          <pc:sldMk cId="702173695" sldId="376"/>
        </pc:sldMkLst>
      </pc:sldChg>
      <pc:sldChg chg="modSp">
        <pc:chgData name="Agah Celebi" userId="5990b23d9d5bc4c9" providerId="Windows Live" clId="Web-{C0FEE3D5-F501-4986-8E1A-A725FB7AADA2}" dt="2025-02-11T18:49:48.595" v="3372" actId="20577"/>
        <pc:sldMkLst>
          <pc:docMk/>
          <pc:sldMk cId="1451528748" sldId="395"/>
        </pc:sldMkLst>
        <pc:spChg chg="mod">
          <ac:chgData name="Agah Celebi" userId="5990b23d9d5bc4c9" providerId="Windows Live" clId="Web-{C0FEE3D5-F501-4986-8E1A-A725FB7AADA2}" dt="2025-02-11T18:49:48.595" v="3372" actId="20577"/>
          <ac:spMkLst>
            <pc:docMk/>
            <pc:sldMk cId="1451528748" sldId="395"/>
            <ac:spMk id="4" creationId="{268D8FC3-C28E-1158-D33C-F3A5CBB553D9}"/>
          </ac:spMkLst>
        </pc:spChg>
      </pc:sldChg>
      <pc:sldChg chg="delSp modSp add del replId">
        <pc:chgData name="Agah Celebi" userId="5990b23d9d5bc4c9" providerId="Windows Live" clId="Web-{C0FEE3D5-F501-4986-8E1A-A725FB7AADA2}" dt="2025-02-11T16:23:20.881" v="2621"/>
        <pc:sldMkLst>
          <pc:docMk/>
          <pc:sldMk cId="3984134374" sldId="401"/>
        </pc:sldMkLst>
      </pc:sldChg>
      <pc:sldChg chg="addSp delSp modSp add replId">
        <pc:chgData name="Agah Celebi" userId="5990b23d9d5bc4c9" providerId="Windows Live" clId="Web-{C0FEE3D5-F501-4986-8E1A-A725FB7AADA2}" dt="2025-02-11T18:50:04.720" v="3374" actId="20577"/>
        <pc:sldMkLst>
          <pc:docMk/>
          <pc:sldMk cId="2614791245" sldId="402"/>
        </pc:sldMkLst>
        <pc:spChg chg="mod">
          <ac:chgData name="Agah Celebi" userId="5990b23d9d5bc4c9" providerId="Windows Live" clId="Web-{C0FEE3D5-F501-4986-8E1A-A725FB7AADA2}" dt="2025-02-11T18:50:04.720" v="3374" actId="20577"/>
          <ac:spMkLst>
            <pc:docMk/>
            <pc:sldMk cId="2614791245" sldId="402"/>
            <ac:spMk id="3" creationId="{B13F2B69-A303-4F20-CFC3-EF30A5A5485F}"/>
          </ac:spMkLst>
        </pc:spChg>
        <pc:spChg chg="mod">
          <ac:chgData name="Agah Celebi" userId="5990b23d9d5bc4c9" providerId="Windows Live" clId="Web-{C0FEE3D5-F501-4986-8E1A-A725FB7AADA2}" dt="2025-02-11T13:36:12.602" v="153" actId="20577"/>
          <ac:spMkLst>
            <pc:docMk/>
            <pc:sldMk cId="2614791245" sldId="402"/>
            <ac:spMk id="5" creationId="{31901BB5-5956-71AF-DA3B-2FE8C02A954C}"/>
          </ac:spMkLst>
        </pc:spChg>
        <pc:spChg chg="mod">
          <ac:chgData name="Agah Celebi" userId="5990b23d9d5bc4c9" providerId="Windows Live" clId="Web-{C0FEE3D5-F501-4986-8E1A-A725FB7AADA2}" dt="2025-02-11T13:52:59.471" v="767" actId="20577"/>
          <ac:spMkLst>
            <pc:docMk/>
            <pc:sldMk cId="2614791245" sldId="402"/>
            <ac:spMk id="12" creationId="{9BCCD5D8-C5D7-9748-CD33-E076C6B270D5}"/>
          </ac:spMkLst>
        </pc:spChg>
        <pc:picChg chg="add mod">
          <ac:chgData name="Agah Celebi" userId="5990b23d9d5bc4c9" providerId="Windows Live" clId="Web-{C0FEE3D5-F501-4986-8E1A-A725FB7AADA2}" dt="2025-02-11T13:36:05.461" v="148" actId="1076"/>
          <ac:picMkLst>
            <pc:docMk/>
            <pc:sldMk cId="2614791245" sldId="402"/>
            <ac:picMk id="6" creationId="{9C28227E-2E7C-7C91-5037-873FC747C8BC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8:50:09.923" v="3375" actId="20577"/>
        <pc:sldMkLst>
          <pc:docMk/>
          <pc:sldMk cId="2659070570" sldId="403"/>
        </pc:sldMkLst>
        <pc:spChg chg="mod">
          <ac:chgData name="Agah Celebi" userId="5990b23d9d5bc4c9" providerId="Windows Live" clId="Web-{C0FEE3D5-F501-4986-8E1A-A725FB7AADA2}" dt="2025-02-11T18:50:09.923" v="3375" actId="20577"/>
          <ac:spMkLst>
            <pc:docMk/>
            <pc:sldMk cId="2659070570" sldId="403"/>
            <ac:spMk id="3" creationId="{88CFDAFE-B2CE-3078-6AC1-C6ACB227CC02}"/>
          </ac:spMkLst>
        </pc:spChg>
        <pc:spChg chg="mod">
          <ac:chgData name="Agah Celebi" userId="5990b23d9d5bc4c9" providerId="Windows Live" clId="Web-{C0FEE3D5-F501-4986-8E1A-A725FB7AADA2}" dt="2025-02-11T13:54:05.583" v="780" actId="20577"/>
          <ac:spMkLst>
            <pc:docMk/>
            <pc:sldMk cId="2659070570" sldId="403"/>
            <ac:spMk id="5" creationId="{7CC50386-C67B-61E3-A6BC-4433FE5691DC}"/>
          </ac:spMkLst>
        </pc:spChg>
        <pc:spChg chg="mod ord">
          <ac:chgData name="Agah Celebi" userId="5990b23d9d5bc4c9" providerId="Windows Live" clId="Web-{C0FEE3D5-F501-4986-8E1A-A725FB7AADA2}" dt="2025-02-11T14:03:16.980" v="1007" actId="20577"/>
          <ac:spMkLst>
            <pc:docMk/>
            <pc:sldMk cId="2659070570" sldId="403"/>
            <ac:spMk id="12" creationId="{75475188-A9BB-46F4-5CEF-242953E5BCA8}"/>
          </ac:spMkLst>
        </pc:spChg>
        <pc:picChg chg="add mod">
          <ac:chgData name="Agah Celebi" userId="5990b23d9d5bc4c9" providerId="Windows Live" clId="Web-{C0FEE3D5-F501-4986-8E1A-A725FB7AADA2}" dt="2025-02-11T13:53:49.926" v="777" actId="1076"/>
          <ac:picMkLst>
            <pc:docMk/>
            <pc:sldMk cId="2659070570" sldId="403"/>
            <ac:picMk id="7" creationId="{A1933D69-E949-9B25-EAEE-2F9A153F8D1B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4:06:55.333" v="1159" actId="20577"/>
        <pc:sldMkLst>
          <pc:docMk/>
          <pc:sldMk cId="1217027087" sldId="404"/>
        </pc:sldMkLst>
        <pc:spChg chg="mod">
          <ac:chgData name="Agah Celebi" userId="5990b23d9d5bc4c9" providerId="Windows Live" clId="Web-{C0FEE3D5-F501-4986-8E1A-A725FB7AADA2}" dt="2025-02-11T14:06:55.333" v="1159" actId="20577"/>
          <ac:spMkLst>
            <pc:docMk/>
            <pc:sldMk cId="1217027087" sldId="404"/>
            <ac:spMk id="12" creationId="{27757C7D-772F-F5A6-226B-B67E0193991C}"/>
          </ac:spMkLst>
        </pc:spChg>
        <pc:picChg chg="add mod">
          <ac:chgData name="Agah Celebi" userId="5990b23d9d5bc4c9" providerId="Windows Live" clId="Web-{C0FEE3D5-F501-4986-8E1A-A725FB7AADA2}" dt="2025-02-11T14:04:40.624" v="1011" actId="1076"/>
          <ac:picMkLst>
            <pc:docMk/>
            <pc:sldMk cId="1217027087" sldId="404"/>
            <ac:picMk id="6" creationId="{B37C78B3-58DC-CE44-A62F-4F15DE3EFED9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4:26:05.754" v="1468" actId="20577"/>
        <pc:sldMkLst>
          <pc:docMk/>
          <pc:sldMk cId="2207425498" sldId="405"/>
        </pc:sldMkLst>
        <pc:spChg chg="mod">
          <ac:chgData name="Agah Celebi" userId="5990b23d9d5bc4c9" providerId="Windows Live" clId="Web-{C0FEE3D5-F501-4986-8E1A-A725FB7AADA2}" dt="2025-02-11T14:13:58.506" v="1390" actId="20577"/>
          <ac:spMkLst>
            <pc:docMk/>
            <pc:sldMk cId="2207425498" sldId="405"/>
            <ac:spMk id="5" creationId="{E267F9C8-BD2D-FDC7-D347-F4EEE987A71A}"/>
          </ac:spMkLst>
        </pc:spChg>
        <pc:spChg chg="mod">
          <ac:chgData name="Agah Celebi" userId="5990b23d9d5bc4c9" providerId="Windows Live" clId="Web-{C0FEE3D5-F501-4986-8E1A-A725FB7AADA2}" dt="2025-02-11T14:26:05.754" v="1468" actId="20577"/>
          <ac:spMkLst>
            <pc:docMk/>
            <pc:sldMk cId="2207425498" sldId="405"/>
            <ac:spMk id="12" creationId="{4A252C60-1134-456B-F694-833971732CC2}"/>
          </ac:spMkLst>
        </pc:spChg>
        <pc:picChg chg="add mod">
          <ac:chgData name="Agah Celebi" userId="5990b23d9d5bc4c9" providerId="Windows Live" clId="Web-{C0FEE3D5-F501-4986-8E1A-A725FB7AADA2}" dt="2025-02-11T14:07:54.507" v="1164" actId="1076"/>
          <ac:picMkLst>
            <pc:docMk/>
            <pc:sldMk cId="2207425498" sldId="405"/>
            <ac:picMk id="7" creationId="{72F68A6F-7A69-5E6D-C32F-743D30033B55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4:43:22.436" v="1972" actId="20577"/>
        <pc:sldMkLst>
          <pc:docMk/>
          <pc:sldMk cId="2037074328" sldId="406"/>
        </pc:sldMkLst>
        <pc:spChg chg="mod">
          <ac:chgData name="Agah Celebi" userId="5990b23d9d5bc4c9" providerId="Windows Live" clId="Web-{C0FEE3D5-F501-4986-8E1A-A725FB7AADA2}" dt="2025-02-11T14:26:52.662" v="1478" actId="20577"/>
          <ac:spMkLst>
            <pc:docMk/>
            <pc:sldMk cId="2037074328" sldId="406"/>
            <ac:spMk id="5" creationId="{3B41B2AF-93EB-2AF9-B10F-629D986CA07D}"/>
          </ac:spMkLst>
        </pc:spChg>
        <pc:spChg chg="mod">
          <ac:chgData name="Agah Celebi" userId="5990b23d9d5bc4c9" providerId="Windows Live" clId="Web-{C0FEE3D5-F501-4986-8E1A-A725FB7AADA2}" dt="2025-02-11T14:43:22.436" v="1972" actId="20577"/>
          <ac:spMkLst>
            <pc:docMk/>
            <pc:sldMk cId="2037074328" sldId="406"/>
            <ac:spMk id="12" creationId="{751F2985-56FB-B0B0-0E38-7C97248B2A3B}"/>
          </ac:spMkLst>
        </pc:spChg>
        <pc:picChg chg="add mod">
          <ac:chgData name="Agah Celebi" userId="5990b23d9d5bc4c9" providerId="Windows Live" clId="Web-{C0FEE3D5-F501-4986-8E1A-A725FB7AADA2}" dt="2025-02-11T14:28:37.213" v="1544" actId="1076"/>
          <ac:picMkLst>
            <pc:docMk/>
            <pc:sldMk cId="2037074328" sldId="406"/>
            <ac:picMk id="6" creationId="{44D5A841-6520-4339-1B96-254AC89FF034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5:13:57.534" v="2376" actId="20577"/>
        <pc:sldMkLst>
          <pc:docMk/>
          <pc:sldMk cId="2172842821" sldId="407"/>
        </pc:sldMkLst>
        <pc:spChg chg="mod">
          <ac:chgData name="Agah Celebi" userId="5990b23d9d5bc4c9" providerId="Windows Live" clId="Web-{C0FEE3D5-F501-4986-8E1A-A725FB7AADA2}" dt="2025-02-11T14:43:56.578" v="1998" actId="20577"/>
          <ac:spMkLst>
            <pc:docMk/>
            <pc:sldMk cId="2172842821" sldId="407"/>
            <ac:spMk id="5" creationId="{590D5FCE-DA14-EA95-5752-A0662CD1DC2B}"/>
          </ac:spMkLst>
        </pc:spChg>
        <pc:spChg chg="mod">
          <ac:chgData name="Agah Celebi" userId="5990b23d9d5bc4c9" providerId="Windows Live" clId="Web-{C0FEE3D5-F501-4986-8E1A-A725FB7AADA2}" dt="2025-02-11T15:13:57.534" v="2376" actId="20577"/>
          <ac:spMkLst>
            <pc:docMk/>
            <pc:sldMk cId="2172842821" sldId="407"/>
            <ac:spMk id="12" creationId="{68AFB897-53EF-BD7A-5B86-5BBA7DDB4DFE}"/>
          </ac:spMkLst>
        </pc:spChg>
        <pc:picChg chg="add mod">
          <ac:chgData name="Agah Celebi" userId="5990b23d9d5bc4c9" providerId="Windows Live" clId="Web-{C0FEE3D5-F501-4986-8E1A-A725FB7AADA2}" dt="2025-02-11T15:07:38.644" v="2176" actId="1076"/>
          <ac:picMkLst>
            <pc:docMk/>
            <pc:sldMk cId="2172842821" sldId="407"/>
            <ac:picMk id="6" creationId="{8EFBFA30-46EB-EE66-D3AF-EEA9D27C0CEE}"/>
          </ac:picMkLst>
        </pc:picChg>
        <pc:picChg chg="add mod">
          <ac:chgData name="Agah Celebi" userId="5990b23d9d5bc4c9" providerId="Windows Live" clId="Web-{C0FEE3D5-F501-4986-8E1A-A725FB7AADA2}" dt="2025-02-11T15:07:37.910" v="2175" actId="1076"/>
          <ac:picMkLst>
            <pc:docMk/>
            <pc:sldMk cId="2172842821" sldId="407"/>
            <ac:picMk id="7" creationId="{1FB15D3E-514E-3304-DD97-AECC7F7AA33B}"/>
          </ac:picMkLst>
        </pc:picChg>
      </pc:sldChg>
      <pc:sldChg chg="addSp delSp modSp add ord replId">
        <pc:chgData name="Agah Celebi" userId="5990b23d9d5bc4c9" providerId="Windows Live" clId="Web-{C0FEE3D5-F501-4986-8E1A-A725FB7AADA2}" dt="2025-02-11T16:40:25.917" v="2824"/>
        <pc:sldMkLst>
          <pc:docMk/>
          <pc:sldMk cId="1868753662" sldId="408"/>
        </pc:sldMkLst>
        <pc:spChg chg="mod">
          <ac:chgData name="Agah Celebi" userId="5990b23d9d5bc4c9" providerId="Windows Live" clId="Web-{C0FEE3D5-F501-4986-8E1A-A725FB7AADA2}" dt="2025-02-11T15:14:06.425" v="2378" actId="20577"/>
          <ac:spMkLst>
            <pc:docMk/>
            <pc:sldMk cId="1868753662" sldId="408"/>
            <ac:spMk id="5" creationId="{129F814B-1601-B3A6-F710-3274390D6500}"/>
          </ac:spMkLst>
        </pc:spChg>
        <pc:spChg chg="mod">
          <ac:chgData name="Agah Celebi" userId="5990b23d9d5bc4c9" providerId="Windows Live" clId="Web-{C0FEE3D5-F501-4986-8E1A-A725FB7AADA2}" dt="2025-02-11T16:00:27.144" v="2591" actId="20577"/>
          <ac:spMkLst>
            <pc:docMk/>
            <pc:sldMk cId="1868753662" sldId="408"/>
            <ac:spMk id="12" creationId="{0706F750-5394-5C9B-0CCB-5A1F8D011901}"/>
          </ac:spMkLst>
        </pc:spChg>
        <pc:picChg chg="add mod">
          <ac:chgData name="Agah Celebi" userId="5990b23d9d5bc4c9" providerId="Windows Live" clId="Web-{C0FEE3D5-F501-4986-8E1A-A725FB7AADA2}" dt="2025-02-11T15:18:23.858" v="2492" actId="1076"/>
          <ac:picMkLst>
            <pc:docMk/>
            <pc:sldMk cId="1868753662" sldId="408"/>
            <ac:picMk id="8" creationId="{1B91A5C7-89AF-396A-0A80-2ACD14CA6541}"/>
          </ac:picMkLst>
        </pc:picChg>
      </pc:sldChg>
      <pc:sldChg chg="add del replId">
        <pc:chgData name="Agah Celebi" userId="5990b23d9d5bc4c9" providerId="Windows Live" clId="Web-{C0FEE3D5-F501-4986-8E1A-A725FB7AADA2}" dt="2025-02-11T18:22:40.211" v="3131"/>
        <pc:sldMkLst>
          <pc:docMk/>
          <pc:sldMk cId="3829456176" sldId="409"/>
        </pc:sldMkLst>
      </pc:sldChg>
      <pc:sldChg chg="delSp modSp add replId">
        <pc:chgData name="Agah Celebi" userId="5990b23d9d5bc4c9" providerId="Windows Live" clId="Web-{C0FEE3D5-F501-4986-8E1A-A725FB7AADA2}" dt="2025-02-11T16:40:36.761" v="2826" actId="20577"/>
        <pc:sldMkLst>
          <pc:docMk/>
          <pc:sldMk cId="4167808875" sldId="410"/>
        </pc:sldMkLst>
        <pc:spChg chg="mod">
          <ac:chgData name="Agah Celebi" userId="5990b23d9d5bc4c9" providerId="Windows Live" clId="Web-{C0FEE3D5-F501-4986-8E1A-A725FB7AADA2}" dt="2025-02-11T16:23:18.928" v="2620" actId="20577"/>
          <ac:spMkLst>
            <pc:docMk/>
            <pc:sldMk cId="4167808875" sldId="410"/>
            <ac:spMk id="5" creationId="{103A97CD-9DBB-7164-7A03-D92016E78C0C}"/>
          </ac:spMkLst>
        </pc:spChg>
        <pc:spChg chg="mod">
          <ac:chgData name="Agah Celebi" userId="5990b23d9d5bc4c9" providerId="Windows Live" clId="Web-{C0FEE3D5-F501-4986-8E1A-A725FB7AADA2}" dt="2025-02-11T16:40:36.761" v="2826" actId="20577"/>
          <ac:spMkLst>
            <pc:docMk/>
            <pc:sldMk cId="4167808875" sldId="410"/>
            <ac:spMk id="12" creationId="{56277149-881A-64E7-1275-A23A83E88745}"/>
          </ac:spMkLst>
        </pc:spChg>
      </pc:sldChg>
      <pc:sldChg chg="addSp delSp modSp add replId">
        <pc:chgData name="Agah Celebi" userId="5990b23d9d5bc4c9" providerId="Windows Live" clId="Web-{C0FEE3D5-F501-4986-8E1A-A725FB7AADA2}" dt="2025-02-11T16:48:45.575" v="2830" actId="1076"/>
        <pc:sldMkLst>
          <pc:docMk/>
          <pc:sldMk cId="2123264252" sldId="411"/>
        </pc:sldMkLst>
        <pc:picChg chg="add mod">
          <ac:chgData name="Agah Celebi" userId="5990b23d9d5bc4c9" providerId="Windows Live" clId="Web-{C0FEE3D5-F501-4986-8E1A-A725FB7AADA2}" dt="2025-02-11T16:48:23.637" v="2828" actId="1076"/>
          <ac:picMkLst>
            <pc:docMk/>
            <pc:sldMk cId="2123264252" sldId="411"/>
            <ac:picMk id="8" creationId="{32A9F00C-036E-7914-33B4-FE4EDC3141BA}"/>
          </ac:picMkLst>
        </pc:picChg>
        <pc:picChg chg="add mod">
          <ac:chgData name="Agah Celebi" userId="5990b23d9d5bc4c9" providerId="Windows Live" clId="Web-{C0FEE3D5-F501-4986-8E1A-A725FB7AADA2}" dt="2025-02-11T16:48:45.575" v="2830" actId="1076"/>
          <ac:picMkLst>
            <pc:docMk/>
            <pc:sldMk cId="2123264252" sldId="411"/>
            <ac:picMk id="9" creationId="{995629F9-AF8D-78BB-3D87-91A4C1061E00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6:50:35.688" v="2833" actId="1076"/>
        <pc:sldMkLst>
          <pc:docMk/>
          <pc:sldMk cId="673551181" sldId="412"/>
        </pc:sldMkLst>
        <pc:picChg chg="add mod">
          <ac:chgData name="Agah Celebi" userId="5990b23d9d5bc4c9" providerId="Windows Live" clId="Web-{C0FEE3D5-F501-4986-8E1A-A725FB7AADA2}" dt="2025-02-11T16:49:12.935" v="2831"/>
          <ac:picMkLst>
            <pc:docMk/>
            <pc:sldMk cId="673551181" sldId="412"/>
            <ac:picMk id="6" creationId="{8C0A964B-0EB1-9FCE-9FA2-D156C87B55B4}"/>
          </ac:picMkLst>
        </pc:picChg>
        <pc:picChg chg="add mod">
          <ac:chgData name="Agah Celebi" userId="5990b23d9d5bc4c9" providerId="Windows Live" clId="Web-{C0FEE3D5-F501-4986-8E1A-A725FB7AADA2}" dt="2025-02-11T16:50:35.688" v="2833" actId="1076"/>
          <ac:picMkLst>
            <pc:docMk/>
            <pc:sldMk cId="673551181" sldId="412"/>
            <ac:picMk id="8" creationId="{E0348E23-6B73-F99D-BE64-1A8855BB0883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6:51:01.549" v="2837" actId="1076"/>
        <pc:sldMkLst>
          <pc:docMk/>
          <pc:sldMk cId="2311508125" sldId="413"/>
        </pc:sldMkLst>
        <pc:picChg chg="add mod">
          <ac:chgData name="Agah Celebi" userId="5990b23d9d5bc4c9" providerId="Windows Live" clId="Web-{C0FEE3D5-F501-4986-8E1A-A725FB7AADA2}" dt="2025-02-11T16:51:01.549" v="2837" actId="1076"/>
          <ac:picMkLst>
            <pc:docMk/>
            <pc:sldMk cId="2311508125" sldId="413"/>
            <ac:picMk id="6" creationId="{F61055D3-A0AE-7CB4-085F-F64E4BB53819}"/>
          </ac:picMkLst>
        </pc:picChg>
      </pc:sldChg>
      <pc:sldChg chg="addSp delSp modSp add replId">
        <pc:chgData name="Agah Celebi" userId="5990b23d9d5bc4c9" providerId="Windows Live" clId="Web-{C0FEE3D5-F501-4986-8E1A-A725FB7AADA2}" dt="2025-02-11T16:52:38.583" v="2843" actId="1076"/>
        <pc:sldMkLst>
          <pc:docMk/>
          <pc:sldMk cId="1054140315" sldId="414"/>
        </pc:sldMkLst>
        <pc:picChg chg="add mod">
          <ac:chgData name="Agah Celebi" userId="5990b23d9d5bc4c9" providerId="Windows Live" clId="Web-{C0FEE3D5-F501-4986-8E1A-A725FB7AADA2}" dt="2025-02-11T16:52:33.193" v="2841" actId="1076"/>
          <ac:picMkLst>
            <pc:docMk/>
            <pc:sldMk cId="1054140315" sldId="414"/>
            <ac:picMk id="7" creationId="{03A230AE-1EB9-0B4D-C319-296C338BEE60}"/>
          </ac:picMkLst>
        </pc:picChg>
        <pc:picChg chg="add mod">
          <ac:chgData name="Agah Celebi" userId="5990b23d9d5bc4c9" providerId="Windows Live" clId="Web-{C0FEE3D5-F501-4986-8E1A-A725FB7AADA2}" dt="2025-02-11T16:52:38.583" v="2843" actId="1076"/>
          <ac:picMkLst>
            <pc:docMk/>
            <pc:sldMk cId="1054140315" sldId="414"/>
            <ac:picMk id="8" creationId="{1FED730E-678E-22AB-06A8-8686532C45DE}"/>
          </ac:picMkLst>
        </pc:picChg>
      </pc:sldChg>
      <pc:sldChg chg="modSp add ord replId">
        <pc:chgData name="Agah Celebi" userId="5990b23d9d5bc4c9" providerId="Windows Live" clId="Web-{C0FEE3D5-F501-4986-8E1A-A725FB7AADA2}" dt="2025-02-11T16:57:43.406" v="3128" actId="20577"/>
        <pc:sldMkLst>
          <pc:docMk/>
          <pc:sldMk cId="2257970813" sldId="415"/>
        </pc:sldMkLst>
        <pc:spChg chg="mod">
          <ac:chgData name="Agah Celebi" userId="5990b23d9d5bc4c9" providerId="Windows Live" clId="Web-{C0FEE3D5-F501-4986-8E1A-A725FB7AADA2}" dt="2025-02-11T16:53:18.460" v="2849" actId="20577"/>
          <ac:spMkLst>
            <pc:docMk/>
            <pc:sldMk cId="2257970813" sldId="415"/>
            <ac:spMk id="5" creationId="{8EC764EB-9A90-4508-AC48-725948BA3C10}"/>
          </ac:spMkLst>
        </pc:spChg>
        <pc:spChg chg="mod">
          <ac:chgData name="Agah Celebi" userId="5990b23d9d5bc4c9" providerId="Windows Live" clId="Web-{C0FEE3D5-F501-4986-8E1A-A725FB7AADA2}" dt="2025-02-11T16:57:43.406" v="3128" actId="20577"/>
          <ac:spMkLst>
            <pc:docMk/>
            <pc:sldMk cId="2257970813" sldId="415"/>
            <ac:spMk id="12" creationId="{93448190-3708-0144-46DA-E13B11DABF15}"/>
          </ac:spMkLst>
        </pc:spChg>
      </pc:sldChg>
      <pc:sldChg chg="add del replId">
        <pc:chgData name="Agah Celebi" userId="5990b23d9d5bc4c9" providerId="Windows Live" clId="Web-{C0FEE3D5-F501-4986-8E1A-A725FB7AADA2}" dt="2025-02-11T18:22:37.617" v="3130"/>
        <pc:sldMkLst>
          <pc:docMk/>
          <pc:sldMk cId="1452967920" sldId="416"/>
        </pc:sldMkLst>
      </pc:sldChg>
      <pc:sldChg chg="modSp add ord replId">
        <pc:chgData name="Agah Celebi" userId="5990b23d9d5bc4c9" providerId="Windows Live" clId="Web-{C0FEE3D5-F501-4986-8E1A-A725FB7AADA2}" dt="2025-02-11T18:49:18.297" v="3371" actId="20577"/>
        <pc:sldMkLst>
          <pc:docMk/>
          <pc:sldMk cId="1988996323" sldId="416"/>
        </pc:sldMkLst>
        <pc:spChg chg="mod">
          <ac:chgData name="Agah Celebi" userId="5990b23d9d5bc4c9" providerId="Windows Live" clId="Web-{C0FEE3D5-F501-4986-8E1A-A725FB7AADA2}" dt="2025-02-11T18:26:04.813" v="3178" actId="20577"/>
          <ac:spMkLst>
            <pc:docMk/>
            <pc:sldMk cId="1988996323" sldId="416"/>
            <ac:spMk id="5" creationId="{E3D0798E-FECE-90FB-1581-80EC30BCD75F}"/>
          </ac:spMkLst>
        </pc:spChg>
        <pc:spChg chg="mod">
          <ac:chgData name="Agah Celebi" userId="5990b23d9d5bc4c9" providerId="Windows Live" clId="Web-{C0FEE3D5-F501-4986-8E1A-A725FB7AADA2}" dt="2025-02-11T18:49:18.297" v="3371" actId="20577"/>
          <ac:spMkLst>
            <pc:docMk/>
            <pc:sldMk cId="1988996323" sldId="416"/>
            <ac:spMk id="12" creationId="{CD850A73-A23D-2812-85EB-00B2C8680C3A}"/>
          </ac:spMkLst>
        </pc:spChg>
      </pc:sldChg>
    </pc:docChg>
  </pc:docChgLst>
  <pc:docChgLst>
    <pc:chgData name="Mustafa Alkaya" userId="aacbf56ada369191" providerId="Windows Live" clId="Web-{72FB0167-43B2-499B-B000-3B348B22974C}"/>
    <pc:docChg chg="modSld sldOrd">
      <pc:chgData name="Mustafa Alkaya" userId="aacbf56ada369191" providerId="Windows Live" clId="Web-{72FB0167-43B2-499B-B000-3B348B22974C}" dt="2025-02-12T06:44:24.952" v="16" actId="20577"/>
      <pc:docMkLst>
        <pc:docMk/>
      </pc:docMkLst>
      <pc:sldChg chg="modSp">
        <pc:chgData name="Mustafa Alkaya" userId="aacbf56ada369191" providerId="Windows Live" clId="Web-{72FB0167-43B2-499B-B000-3B348B22974C}" dt="2025-02-12T05:59:26.394" v="1" actId="1076"/>
        <pc:sldMkLst>
          <pc:docMk/>
          <pc:sldMk cId="2095473313" sldId="347"/>
        </pc:sldMkLst>
        <pc:picChg chg="mod">
          <ac:chgData name="Mustafa Alkaya" userId="aacbf56ada369191" providerId="Windows Live" clId="Web-{72FB0167-43B2-499B-B000-3B348B22974C}" dt="2025-02-12T05:59:26.394" v="1" actId="1076"/>
          <ac:picMkLst>
            <pc:docMk/>
            <pc:sldMk cId="2095473313" sldId="347"/>
            <ac:picMk id="6" creationId="{9C4B7FFE-86CC-A547-4954-E73C9E5308EB}"/>
          </ac:picMkLst>
        </pc:picChg>
      </pc:sldChg>
      <pc:sldChg chg="ord">
        <pc:chgData name="Mustafa Alkaya" userId="aacbf56ada369191" providerId="Windows Live" clId="Web-{72FB0167-43B2-499B-B000-3B348B22974C}" dt="2025-02-12T06:43:59.295" v="3"/>
        <pc:sldMkLst>
          <pc:docMk/>
          <pc:sldMk cId="177978586" sldId="350"/>
        </pc:sldMkLst>
      </pc:sldChg>
      <pc:sldChg chg="modSp ord">
        <pc:chgData name="Mustafa Alkaya" userId="aacbf56ada369191" providerId="Windows Live" clId="Web-{72FB0167-43B2-499B-B000-3B348B22974C}" dt="2025-02-12T06:44:24.952" v="16" actId="20577"/>
        <pc:sldMkLst>
          <pc:docMk/>
          <pc:sldMk cId="3278079797" sldId="396"/>
        </pc:sldMkLst>
        <pc:spChg chg="mod">
          <ac:chgData name="Mustafa Alkaya" userId="aacbf56ada369191" providerId="Windows Live" clId="Web-{72FB0167-43B2-499B-B000-3B348B22974C}" dt="2025-02-12T06:44:24.952" v="16" actId="20577"/>
          <ac:spMkLst>
            <pc:docMk/>
            <pc:sldMk cId="3278079797" sldId="396"/>
            <ac:spMk id="7" creationId="{6668019B-8A12-0DC0-0F56-E12A61EACA98}"/>
          </ac:spMkLst>
        </pc:spChg>
      </pc:sldChg>
    </pc:docChg>
  </pc:docChgLst>
  <pc:docChgLst>
    <pc:chgData name="Erdem Agfirat" userId="3def093e706752c9" providerId="Windows Live" clId="Web-{6F9914CD-1ACA-4590-A465-B75746838D27}"/>
    <pc:docChg chg="modSld">
      <pc:chgData name="Erdem Agfirat" userId="3def093e706752c9" providerId="Windows Live" clId="Web-{6F9914CD-1ACA-4590-A465-B75746838D27}" dt="2025-02-05T15:32:06.456" v="28" actId="1076"/>
      <pc:docMkLst>
        <pc:docMk/>
      </pc:docMkLst>
      <pc:sldChg chg="addSp delSp modSp">
        <pc:chgData name="Erdem Agfirat" userId="3def093e706752c9" providerId="Windows Live" clId="Web-{6F9914CD-1ACA-4590-A465-B75746838D27}" dt="2025-02-05T15:32:06.456" v="28" actId="1076"/>
        <pc:sldMkLst>
          <pc:docMk/>
          <pc:sldMk cId="733486021" sldId="378"/>
        </pc:sldMkLst>
      </pc:sldChg>
    </pc:docChg>
  </pc:docChgLst>
  <pc:docChgLst>
    <pc:chgData name="Agah Celebi" userId="5990b23d9d5bc4c9" providerId="Windows Live" clId="Web-{D99CC9FD-6C71-4CED-8B37-8175BB26957C}"/>
    <pc:docChg chg="addSld delSld modSld sldOrd">
      <pc:chgData name="Agah Celebi" userId="5990b23d9d5bc4c9" providerId="Windows Live" clId="Web-{D99CC9FD-6C71-4CED-8B37-8175BB26957C}" dt="2025-02-02T14:10:13.241" v="574" actId="20577"/>
      <pc:docMkLst>
        <pc:docMk/>
      </pc:docMkLst>
      <pc:sldChg chg="ord">
        <pc:chgData name="Agah Celebi" userId="5990b23d9d5bc4c9" providerId="Windows Live" clId="Web-{D99CC9FD-6C71-4CED-8B37-8175BB26957C}" dt="2025-02-02T12:30:48.028" v="66"/>
        <pc:sldMkLst>
          <pc:docMk/>
          <pc:sldMk cId="355304440" sldId="287"/>
        </pc:sldMkLst>
      </pc:sldChg>
      <pc:sldChg chg="ord">
        <pc:chgData name="Agah Celebi" userId="5990b23d9d5bc4c9" providerId="Windows Live" clId="Web-{D99CC9FD-6C71-4CED-8B37-8175BB26957C}" dt="2025-02-02T12:34:22.240" v="72"/>
        <pc:sldMkLst>
          <pc:docMk/>
          <pc:sldMk cId="754678105" sldId="292"/>
        </pc:sldMkLst>
      </pc:sldChg>
      <pc:sldChg chg="modSp ord">
        <pc:chgData name="Agah Celebi" userId="5990b23d9d5bc4c9" providerId="Windows Live" clId="Web-{D99CC9FD-6C71-4CED-8B37-8175BB26957C}" dt="2025-02-02T12:27:42.662" v="54" actId="20577"/>
        <pc:sldMkLst>
          <pc:docMk/>
          <pc:sldMk cId="435471241" sldId="323"/>
        </pc:sldMkLst>
        <pc:spChg chg="mod">
          <ac:chgData name="Agah Celebi" userId="5990b23d9d5bc4c9" providerId="Windows Live" clId="Web-{D99CC9FD-6C71-4CED-8B37-8175BB26957C}" dt="2025-02-02T12:27:42.662" v="54" actId="20577"/>
          <ac:spMkLst>
            <pc:docMk/>
            <pc:sldMk cId="435471241" sldId="323"/>
            <ac:spMk id="2" creationId="{958E3AC1-3FED-E61B-4B3D-05F8E1A2D34F}"/>
          </ac:spMkLst>
        </pc:spChg>
      </pc:sldChg>
      <pc:sldChg chg="ord">
        <pc:chgData name="Agah Celebi" userId="5990b23d9d5bc4c9" providerId="Windows Live" clId="Web-{D99CC9FD-6C71-4CED-8B37-8175BB26957C}" dt="2025-02-02T12:26:38.191" v="40"/>
        <pc:sldMkLst>
          <pc:docMk/>
          <pc:sldMk cId="2529471132" sldId="324"/>
        </pc:sldMkLst>
      </pc:sldChg>
      <pc:sldChg chg="modSp">
        <pc:chgData name="Agah Celebi" userId="5990b23d9d5bc4c9" providerId="Windows Live" clId="Web-{D99CC9FD-6C71-4CED-8B37-8175BB26957C}" dt="2025-02-02T14:05:43.609" v="477" actId="20577"/>
        <pc:sldMkLst>
          <pc:docMk/>
          <pc:sldMk cId="17479474" sldId="332"/>
        </pc:sldMkLst>
      </pc:sldChg>
      <pc:sldChg chg="ord">
        <pc:chgData name="Agah Celebi" userId="5990b23d9d5bc4c9" providerId="Windows Live" clId="Web-{D99CC9FD-6C71-4CED-8B37-8175BB26957C}" dt="2025-02-02T12:33:56.832" v="71"/>
        <pc:sldMkLst>
          <pc:docMk/>
          <pc:sldMk cId="1198200963" sldId="335"/>
        </pc:sldMkLst>
      </pc:sldChg>
      <pc:sldChg chg="ord">
        <pc:chgData name="Agah Celebi" userId="5990b23d9d5bc4c9" providerId="Windows Live" clId="Web-{D99CC9FD-6C71-4CED-8B37-8175BB26957C}" dt="2025-02-02T12:34:47.725" v="73"/>
        <pc:sldMkLst>
          <pc:docMk/>
          <pc:sldMk cId="3744515117" sldId="339"/>
        </pc:sldMkLst>
      </pc:sldChg>
      <pc:sldChg chg="modSp">
        <pc:chgData name="Agah Celebi" userId="5990b23d9d5bc4c9" providerId="Windows Live" clId="Web-{D99CC9FD-6C71-4CED-8B37-8175BB26957C}" dt="2025-02-02T14:05:47.875" v="480" actId="20577"/>
        <pc:sldMkLst>
          <pc:docMk/>
          <pc:sldMk cId="2912856190" sldId="340"/>
        </pc:sldMkLst>
      </pc:sldChg>
      <pc:sldChg chg="modSp">
        <pc:chgData name="Agah Celebi" userId="5990b23d9d5bc4c9" providerId="Windows Live" clId="Web-{D99CC9FD-6C71-4CED-8B37-8175BB26957C}" dt="2025-02-02T14:06:09.657" v="495" actId="20577"/>
        <pc:sldMkLst>
          <pc:docMk/>
          <pc:sldMk cId="1199702135" sldId="341"/>
        </pc:sldMkLst>
      </pc:sldChg>
      <pc:sldChg chg="del">
        <pc:chgData name="Agah Celebi" userId="5990b23d9d5bc4c9" providerId="Windows Live" clId="Web-{D99CC9FD-6C71-4CED-8B37-8175BB26957C}" dt="2025-02-02T12:38:12.873" v="76"/>
        <pc:sldMkLst>
          <pc:docMk/>
          <pc:sldMk cId="348543540" sldId="343"/>
        </pc:sldMkLst>
      </pc:sldChg>
      <pc:sldChg chg="del">
        <pc:chgData name="Agah Celebi" userId="5990b23d9d5bc4c9" providerId="Windows Live" clId="Web-{D99CC9FD-6C71-4CED-8B37-8175BB26957C}" dt="2025-02-02T12:42:07.288" v="161"/>
        <pc:sldMkLst>
          <pc:docMk/>
          <pc:sldMk cId="2571027817" sldId="344"/>
        </pc:sldMkLst>
      </pc:sldChg>
      <pc:sldChg chg="modSp">
        <pc:chgData name="Agah Celebi" userId="5990b23d9d5bc4c9" providerId="Windows Live" clId="Web-{D99CC9FD-6C71-4CED-8B37-8175BB26957C}" dt="2025-02-02T14:08:01.035" v="511" actId="20577"/>
        <pc:sldMkLst>
          <pc:docMk/>
          <pc:sldMk cId="3921962684" sldId="345"/>
        </pc:sldMkLst>
      </pc:sldChg>
      <pc:sldChg chg="modSp ord">
        <pc:chgData name="Agah Celebi" userId="5990b23d9d5bc4c9" providerId="Windows Live" clId="Web-{D99CC9FD-6C71-4CED-8B37-8175BB26957C}" dt="2025-02-02T14:07:47.972" v="509" actId="20577"/>
        <pc:sldMkLst>
          <pc:docMk/>
          <pc:sldMk cId="497478867" sldId="346"/>
        </pc:sldMkLst>
      </pc:sldChg>
      <pc:sldChg chg="modSp ord">
        <pc:chgData name="Agah Celebi" userId="5990b23d9d5bc4c9" providerId="Windows Live" clId="Web-{D99CC9FD-6C71-4CED-8B37-8175BB26957C}" dt="2025-02-02T14:10:08.741" v="571" actId="20577"/>
        <pc:sldMkLst>
          <pc:docMk/>
          <pc:sldMk cId="2095473313" sldId="347"/>
        </pc:sldMkLst>
        <pc:spChg chg="mod">
          <ac:chgData name="Agah Celebi" userId="5990b23d9d5bc4c9" providerId="Windows Live" clId="Web-{D99CC9FD-6C71-4CED-8B37-8175BB26957C}" dt="2025-02-02T14:10:08.741" v="571" actId="20577"/>
          <ac:spMkLst>
            <pc:docMk/>
            <pc:sldMk cId="2095473313" sldId="347"/>
            <ac:spMk id="5" creationId="{4D5E584D-131E-5317-4A88-CE8CA299EF0F}"/>
          </ac:spMkLst>
        </pc:spChg>
      </pc:sldChg>
      <pc:sldChg chg="modSp ord">
        <pc:chgData name="Agah Celebi" userId="5990b23d9d5bc4c9" providerId="Windows Live" clId="Web-{D99CC9FD-6C71-4CED-8B37-8175BB26957C}" dt="2025-02-02T14:06:19.204" v="503" actId="20577"/>
        <pc:sldMkLst>
          <pc:docMk/>
          <pc:sldMk cId="2498417918" sldId="348"/>
        </pc:sldMkLst>
      </pc:sldChg>
      <pc:sldChg chg="modSp">
        <pc:chgData name="Agah Celebi" userId="5990b23d9d5bc4c9" providerId="Windows Live" clId="Web-{D99CC9FD-6C71-4CED-8B37-8175BB26957C}" dt="2025-02-02T14:08:08.128" v="514" actId="20577"/>
        <pc:sldMkLst>
          <pc:docMk/>
          <pc:sldMk cId="4096807509" sldId="349"/>
        </pc:sldMkLst>
      </pc:sldChg>
      <pc:sldChg chg="modSp ord">
        <pc:chgData name="Agah Celebi" userId="5990b23d9d5bc4c9" providerId="Windows Live" clId="Web-{D99CC9FD-6C71-4CED-8B37-8175BB26957C}" dt="2025-02-02T14:00:45.211" v="474" actId="20577"/>
        <pc:sldMkLst>
          <pc:docMk/>
          <pc:sldMk cId="667530008" sldId="351"/>
        </pc:sldMkLst>
        <pc:spChg chg="mod">
          <ac:chgData name="Agah Celebi" userId="5990b23d9d5bc4c9" providerId="Windows Live" clId="Web-{D99CC9FD-6C71-4CED-8B37-8175BB26957C}" dt="2025-02-02T14:00:45.211" v="474" actId="20577"/>
          <ac:spMkLst>
            <pc:docMk/>
            <pc:sldMk cId="667530008" sldId="351"/>
            <ac:spMk id="5" creationId="{6AA12302-CCAA-1B45-DAB3-CC774EB4D13C}"/>
          </ac:spMkLst>
        </pc:spChg>
      </pc:sldChg>
      <pc:sldChg chg="addSp modSp">
        <pc:chgData name="Agah Celebi" userId="5990b23d9d5bc4c9" providerId="Windows Live" clId="Web-{D99CC9FD-6C71-4CED-8B37-8175BB26957C}" dt="2025-02-02T12:55:33.194" v="366" actId="1076"/>
        <pc:sldMkLst>
          <pc:docMk/>
          <pc:sldMk cId="731658482" sldId="352"/>
        </pc:sldMkLst>
      </pc:sldChg>
      <pc:sldChg chg="del">
        <pc:chgData name="Agah Celebi" userId="5990b23d9d5bc4c9" providerId="Windows Live" clId="Web-{D99CC9FD-6C71-4CED-8B37-8175BB26957C}" dt="2025-02-02T12:28:34.476" v="61"/>
        <pc:sldMkLst>
          <pc:docMk/>
          <pc:sldMk cId="4054572535" sldId="353"/>
        </pc:sldMkLst>
      </pc:sldChg>
      <pc:sldChg chg="new del">
        <pc:chgData name="Agah Celebi" userId="5990b23d9d5bc4c9" providerId="Windows Live" clId="Web-{D99CC9FD-6C71-4CED-8B37-8175BB26957C}" dt="2025-02-02T12:24:29.889" v="3"/>
        <pc:sldMkLst>
          <pc:docMk/>
          <pc:sldMk cId="124014012" sldId="359"/>
        </pc:sldMkLst>
      </pc:sldChg>
      <pc:sldChg chg="modSp add del replId">
        <pc:chgData name="Agah Celebi" userId="5990b23d9d5bc4c9" providerId="Windows Live" clId="Web-{D99CC9FD-6C71-4CED-8B37-8175BB26957C}" dt="2025-02-02T12:27:03.879" v="41"/>
        <pc:sldMkLst>
          <pc:docMk/>
          <pc:sldMk cId="3001533029" sldId="360"/>
        </pc:sldMkLst>
      </pc:sldChg>
      <pc:sldChg chg="modSp new ord">
        <pc:chgData name="Agah Celebi" userId="5990b23d9d5bc4c9" providerId="Windows Live" clId="Web-{D99CC9FD-6C71-4CED-8B37-8175BB26957C}" dt="2025-02-02T12:27:36.912" v="47" actId="20577"/>
        <pc:sldMkLst>
          <pc:docMk/>
          <pc:sldMk cId="3736741865" sldId="361"/>
        </pc:sldMkLst>
        <pc:spChg chg="mod">
          <ac:chgData name="Agah Celebi" userId="5990b23d9d5bc4c9" providerId="Windows Live" clId="Web-{D99CC9FD-6C71-4CED-8B37-8175BB26957C}" dt="2025-02-02T12:27:36.912" v="47" actId="20577"/>
          <ac:spMkLst>
            <pc:docMk/>
            <pc:sldMk cId="3736741865" sldId="361"/>
            <ac:spMk id="2" creationId="{6305C1C5-AA7B-34CA-102F-9B63096826E8}"/>
          </ac:spMkLst>
        </pc:spChg>
        <pc:spChg chg="mod">
          <ac:chgData name="Agah Celebi" userId="5990b23d9d5bc4c9" providerId="Windows Live" clId="Web-{D99CC9FD-6C71-4CED-8B37-8175BB26957C}" dt="2025-02-02T12:25:54.080" v="32" actId="20577"/>
          <ac:spMkLst>
            <pc:docMk/>
            <pc:sldMk cId="3736741865" sldId="361"/>
            <ac:spMk id="7" creationId="{60C5E49B-5389-6049-A39F-4B9946031523}"/>
          </ac:spMkLst>
        </pc:spChg>
      </pc:sldChg>
      <pc:sldChg chg="modSp new">
        <pc:chgData name="Agah Celebi" userId="5990b23d9d5bc4c9" providerId="Windows Live" clId="Web-{D99CC9FD-6C71-4CED-8B37-8175BB26957C}" dt="2025-02-02T12:38:54.375" v="100" actId="20577"/>
        <pc:sldMkLst>
          <pc:docMk/>
          <pc:sldMk cId="343264474" sldId="362"/>
        </pc:sldMkLst>
        <pc:spChg chg="mod">
          <ac:chgData name="Agah Celebi" userId="5990b23d9d5bc4c9" providerId="Windows Live" clId="Web-{D99CC9FD-6C71-4CED-8B37-8175BB26957C}" dt="2025-02-02T12:38:54.375" v="100" actId="20577"/>
          <ac:spMkLst>
            <pc:docMk/>
            <pc:sldMk cId="343264474" sldId="362"/>
            <ac:spMk id="5" creationId="{424CB0FD-BE8E-315A-DE1E-8CFF29BD5236}"/>
          </ac:spMkLst>
        </pc:spChg>
        <pc:spChg chg="mod">
          <ac:chgData name="Agah Celebi" userId="5990b23d9d5bc4c9" providerId="Windows Live" clId="Web-{D99CC9FD-6C71-4CED-8B37-8175BB26957C}" dt="2025-02-02T12:38:38.530" v="85" actId="20577"/>
          <ac:spMkLst>
            <pc:docMk/>
            <pc:sldMk cId="343264474" sldId="362"/>
            <ac:spMk id="6" creationId="{FCC9CDA4-C57C-A8B9-4123-349483BD6E9F}"/>
          </ac:spMkLst>
        </pc:spChg>
      </pc:sldChg>
      <pc:sldChg chg="modSp new">
        <pc:chgData name="Agah Celebi" userId="5990b23d9d5bc4c9" providerId="Windows Live" clId="Web-{D99CC9FD-6C71-4CED-8B37-8175BB26957C}" dt="2025-02-02T13:59:35.897" v="452" actId="20577"/>
        <pc:sldMkLst>
          <pc:docMk/>
          <pc:sldMk cId="2378787593" sldId="363"/>
        </pc:sldMkLst>
        <pc:spChg chg="mod">
          <ac:chgData name="Agah Celebi" userId="5990b23d9d5bc4c9" providerId="Windows Live" clId="Web-{D99CC9FD-6C71-4CED-8B37-8175BB26957C}" dt="2025-02-02T13:59:35.897" v="452" actId="20577"/>
          <ac:spMkLst>
            <pc:docMk/>
            <pc:sldMk cId="2378787593" sldId="363"/>
            <ac:spMk id="5" creationId="{9B27A61E-2799-60E9-7A20-120CC3944EDD}"/>
          </ac:spMkLst>
        </pc:spChg>
      </pc:sldChg>
      <pc:sldChg chg="modSp new">
        <pc:chgData name="Agah Celebi" userId="5990b23d9d5bc4c9" providerId="Windows Live" clId="Web-{D99CC9FD-6C71-4CED-8B37-8175BB26957C}" dt="2025-02-02T14:00:03.773" v="469" actId="20577"/>
        <pc:sldMkLst>
          <pc:docMk/>
          <pc:sldMk cId="2569825678" sldId="364"/>
        </pc:sldMkLst>
        <pc:spChg chg="mod">
          <ac:chgData name="Agah Celebi" userId="5990b23d9d5bc4c9" providerId="Windows Live" clId="Web-{D99CC9FD-6C71-4CED-8B37-8175BB26957C}" dt="2025-02-02T14:00:03.773" v="469" actId="20577"/>
          <ac:spMkLst>
            <pc:docMk/>
            <pc:sldMk cId="2569825678" sldId="364"/>
            <ac:spMk id="5" creationId="{2A85137A-ED38-AD0E-1A2C-833087357C67}"/>
          </ac:spMkLst>
        </pc:spChg>
        <pc:spChg chg="mod">
          <ac:chgData name="Agah Celebi" userId="5990b23d9d5bc4c9" providerId="Windows Live" clId="Web-{D99CC9FD-6C71-4CED-8B37-8175BB26957C}" dt="2025-02-02T12:40:36.551" v="152" actId="20577"/>
          <ac:spMkLst>
            <pc:docMk/>
            <pc:sldMk cId="2569825678" sldId="364"/>
            <ac:spMk id="6" creationId="{EA21F40A-E552-67E7-83F6-7B0B6DD21032}"/>
          </ac:spMkLst>
        </pc:spChg>
      </pc:sldChg>
      <pc:sldChg chg="modSp add replId">
        <pc:chgData name="Agah Celebi" userId="5990b23d9d5bc4c9" providerId="Windows Live" clId="Web-{D99CC9FD-6C71-4CED-8B37-8175BB26957C}" dt="2025-02-02T14:00:06.945" v="472" actId="20577"/>
        <pc:sldMkLst>
          <pc:docMk/>
          <pc:sldMk cId="2822033000" sldId="365"/>
        </pc:sldMkLst>
        <pc:spChg chg="mod">
          <ac:chgData name="Agah Celebi" userId="5990b23d9d5bc4c9" providerId="Windows Live" clId="Web-{D99CC9FD-6C71-4CED-8B37-8175BB26957C}" dt="2025-02-02T14:00:06.945" v="472" actId="20577"/>
          <ac:spMkLst>
            <pc:docMk/>
            <pc:sldMk cId="2822033000" sldId="365"/>
            <ac:spMk id="5" creationId="{5F86B8C1-D94E-8A9E-D4AC-C088C7036286}"/>
          </ac:spMkLst>
        </pc:spChg>
      </pc:sldChg>
      <pc:sldChg chg="new del">
        <pc:chgData name="Agah Celebi" userId="5990b23d9d5bc4c9" providerId="Windows Live" clId="Web-{D99CC9FD-6C71-4CED-8B37-8175BB26957C}" dt="2025-02-02T12:43:36.417" v="176"/>
        <pc:sldMkLst>
          <pc:docMk/>
          <pc:sldMk cId="1025670586" sldId="366"/>
        </pc:sldMkLst>
      </pc:sldChg>
      <pc:sldChg chg="modSp new ord">
        <pc:chgData name="Agah Celebi" userId="5990b23d9d5bc4c9" providerId="Windows Live" clId="Web-{D99CC9FD-6C71-4CED-8B37-8175BB26957C}" dt="2025-02-02T14:10:13.241" v="574" actId="20577"/>
        <pc:sldMkLst>
          <pc:docMk/>
          <pc:sldMk cId="4128083008" sldId="366"/>
        </pc:sldMkLst>
      </pc:sldChg>
      <pc:sldChg chg="modSp new">
        <pc:chgData name="Agah Celebi" userId="5990b23d9d5bc4c9" providerId="Windows Live" clId="Web-{D99CC9FD-6C71-4CED-8B37-8175BB26957C}" dt="2025-02-02T14:08:47.489" v="546" actId="20577"/>
        <pc:sldMkLst>
          <pc:docMk/>
          <pc:sldMk cId="616956915" sldId="367"/>
        </pc:sldMkLst>
      </pc:sldChg>
      <pc:sldChg chg="modSp add replId">
        <pc:chgData name="Agah Celebi" userId="5990b23d9d5bc4c9" providerId="Windows Live" clId="Web-{D99CC9FD-6C71-4CED-8B37-8175BB26957C}" dt="2025-02-02T14:09:56.975" v="561" actId="20577"/>
        <pc:sldMkLst>
          <pc:docMk/>
          <pc:sldMk cId="2199425858" sldId="368"/>
        </pc:sldMkLst>
      </pc:sldChg>
    </pc:docChg>
  </pc:docChgLst>
  <pc:docChgLst>
    <pc:chgData name="Erdem Agfirat" userId="3def093e706752c9" providerId="Windows Live" clId="Web-{6AFA9483-86EB-410E-B6C2-9043FBB0DDB9}"/>
    <pc:docChg chg="modSld">
      <pc:chgData name="Erdem Agfirat" userId="3def093e706752c9" providerId="Windows Live" clId="Web-{6AFA9483-86EB-410E-B6C2-9043FBB0DDB9}" dt="2025-02-02T14:19:47.588" v="47" actId="20577"/>
      <pc:docMkLst>
        <pc:docMk/>
      </pc:docMkLst>
      <pc:sldChg chg="modSp">
        <pc:chgData name="Erdem Agfirat" userId="3def093e706752c9" providerId="Windows Live" clId="Web-{6AFA9483-86EB-410E-B6C2-9043FBB0DDB9}" dt="2025-02-02T14:08:44.911" v="12" actId="20577"/>
        <pc:sldMkLst>
          <pc:docMk/>
          <pc:sldMk cId="4169021488" sldId="329"/>
        </pc:sldMkLst>
        <pc:spChg chg="mod">
          <ac:chgData name="Erdem Agfirat" userId="3def093e706752c9" providerId="Windows Live" clId="Web-{6AFA9483-86EB-410E-B6C2-9043FBB0DDB9}" dt="2025-02-02T14:08:44.911" v="12" actId="20577"/>
          <ac:spMkLst>
            <pc:docMk/>
            <pc:sldMk cId="4169021488" sldId="329"/>
            <ac:spMk id="5" creationId="{ACBAFDB8-AA61-7158-98F8-587FE22703B5}"/>
          </ac:spMkLst>
        </pc:spChg>
      </pc:sldChg>
      <pc:sldChg chg="modSp">
        <pc:chgData name="Erdem Agfirat" userId="3def093e706752c9" providerId="Windows Live" clId="Web-{6AFA9483-86EB-410E-B6C2-9043FBB0DDB9}" dt="2025-02-02T14:08:33.410" v="6" actId="20577"/>
        <pc:sldMkLst>
          <pc:docMk/>
          <pc:sldMk cId="2864399130" sldId="330"/>
        </pc:sldMkLst>
        <pc:spChg chg="mod">
          <ac:chgData name="Erdem Agfirat" userId="3def093e706752c9" providerId="Windows Live" clId="Web-{6AFA9483-86EB-410E-B6C2-9043FBB0DDB9}" dt="2025-02-02T14:08:33.410" v="6" actId="20577"/>
          <ac:spMkLst>
            <pc:docMk/>
            <pc:sldMk cId="2864399130" sldId="330"/>
            <ac:spMk id="5" creationId="{87A53997-5578-79F8-743B-D1AC2316B3C4}"/>
          </ac:spMkLst>
        </pc:spChg>
      </pc:sldChg>
      <pc:sldChg chg="modSp">
        <pc:chgData name="Erdem Agfirat" userId="3def093e706752c9" providerId="Windows Live" clId="Web-{6AFA9483-86EB-410E-B6C2-9043FBB0DDB9}" dt="2025-02-02T14:19:12.118" v="36" actId="20577"/>
        <pc:sldMkLst>
          <pc:docMk/>
          <pc:sldMk cId="2088111408" sldId="357"/>
        </pc:sldMkLst>
      </pc:sldChg>
      <pc:sldChg chg="modSp">
        <pc:chgData name="Erdem Agfirat" userId="3def093e706752c9" providerId="Windows Live" clId="Web-{6AFA9483-86EB-410E-B6C2-9043FBB0DDB9}" dt="2025-02-02T14:19:47.588" v="47" actId="20577"/>
        <pc:sldMkLst>
          <pc:docMk/>
          <pc:sldMk cId="1213190179" sldId="358"/>
        </pc:sldMkLst>
      </pc:sldChg>
    </pc:docChg>
  </pc:docChgLst>
  <pc:docChgLst>
    <pc:chgData name="Mustafa Alkaya" userId="aacbf56ada369191" providerId="Windows Live" clId="Web-{2066FDE6-251D-4CED-8D78-DE5F29DE40FB}"/>
    <pc:docChg chg="addSld delSld modSld">
      <pc:chgData name="Mustafa Alkaya" userId="aacbf56ada369191" providerId="Windows Live" clId="Web-{2066FDE6-251D-4CED-8D78-DE5F29DE40FB}" dt="2025-02-10T17:38:38.403" v="297"/>
      <pc:docMkLst>
        <pc:docMk/>
      </pc:docMkLst>
      <pc:sldChg chg="addSp modSp">
        <pc:chgData name="Mustafa Alkaya" userId="aacbf56ada369191" providerId="Windows Live" clId="Web-{2066FDE6-251D-4CED-8D78-DE5F29DE40FB}" dt="2025-02-10T16:31:58.961" v="52" actId="1076"/>
        <pc:sldMkLst>
          <pc:docMk/>
          <pc:sldMk cId="2095473313" sldId="347"/>
        </pc:sldMkLst>
        <pc:spChg chg="add mod">
          <ac:chgData name="Mustafa Alkaya" userId="aacbf56ada369191" providerId="Windows Live" clId="Web-{2066FDE6-251D-4CED-8D78-DE5F29DE40FB}" dt="2025-02-10T16:31:58.961" v="52" actId="1076"/>
          <ac:spMkLst>
            <pc:docMk/>
            <pc:sldMk cId="2095473313" sldId="347"/>
            <ac:spMk id="8" creationId="{95523B49-F312-A481-8A03-D517664754BE}"/>
          </ac:spMkLst>
        </pc:spChg>
        <pc:picChg chg="mod">
          <ac:chgData name="Mustafa Alkaya" userId="aacbf56ada369191" providerId="Windows Live" clId="Web-{2066FDE6-251D-4CED-8D78-DE5F29DE40FB}" dt="2025-02-10T16:31:05.615" v="2" actId="1076"/>
          <ac:picMkLst>
            <pc:docMk/>
            <pc:sldMk cId="2095473313" sldId="347"/>
            <ac:picMk id="6" creationId="{9C4B7FFE-86CC-A547-4954-E73C9E5308EB}"/>
          </ac:picMkLst>
        </pc:picChg>
      </pc:sldChg>
      <pc:sldChg chg="addSp delSp modSp new">
        <pc:chgData name="Mustafa Alkaya" userId="aacbf56ada369191" providerId="Windows Live" clId="Web-{2066FDE6-251D-4CED-8D78-DE5F29DE40FB}" dt="2025-02-10T17:38:38.403" v="297"/>
        <pc:sldMkLst>
          <pc:docMk/>
          <pc:sldMk cId="2361145867" sldId="398"/>
        </pc:sldMkLst>
        <pc:spChg chg="mod">
          <ac:chgData name="Mustafa Alkaya" userId="aacbf56ada369191" providerId="Windows Live" clId="Web-{2066FDE6-251D-4CED-8D78-DE5F29DE40FB}" dt="2025-02-10T17:03:44.583" v="156" actId="20577"/>
          <ac:spMkLst>
            <pc:docMk/>
            <pc:sldMk cId="2361145867" sldId="398"/>
            <ac:spMk id="3" creationId="{B949B45F-D96B-11CB-C75E-A858046F92C1}"/>
          </ac:spMkLst>
        </pc:spChg>
        <pc:spChg chg="mod">
          <ac:chgData name="Mustafa Alkaya" userId="aacbf56ada369191" providerId="Windows Live" clId="Web-{2066FDE6-251D-4CED-8D78-DE5F29DE40FB}" dt="2025-02-10T16:32:06.898" v="57" actId="20577"/>
          <ac:spMkLst>
            <pc:docMk/>
            <pc:sldMk cId="2361145867" sldId="398"/>
            <ac:spMk id="5" creationId="{5C045A24-371E-C76B-B757-343DBFFE663B}"/>
          </ac:spMkLst>
        </pc:spChg>
        <pc:graphicFrameChg chg="add mod modGraphic">
          <ac:chgData name="Mustafa Alkaya" userId="aacbf56ada369191" providerId="Windows Live" clId="Web-{2066FDE6-251D-4CED-8D78-DE5F29DE40FB}" dt="2025-02-10T17:38:38.403" v="297"/>
          <ac:graphicFrameMkLst>
            <pc:docMk/>
            <pc:sldMk cId="2361145867" sldId="398"/>
            <ac:graphicFrameMk id="8" creationId="{8E03CFFC-8336-8CF6-4F1A-95911F53F66C}"/>
          </ac:graphicFrameMkLst>
        </pc:graphicFrameChg>
        <pc:picChg chg="add mod">
          <ac:chgData name="Mustafa Alkaya" userId="aacbf56ada369191" providerId="Windows Live" clId="Web-{2066FDE6-251D-4CED-8D78-DE5F29DE40FB}" dt="2025-02-10T16:55:57.113" v="126" actId="1076"/>
          <ac:picMkLst>
            <pc:docMk/>
            <pc:sldMk cId="2361145867" sldId="398"/>
            <ac:picMk id="9" creationId="{E3A669BB-EE62-ACCA-C756-8E6678B2AF06}"/>
          </ac:picMkLst>
        </pc:picChg>
        <pc:picChg chg="add mod">
          <ac:chgData name="Mustafa Alkaya" userId="aacbf56ada369191" providerId="Windows Live" clId="Web-{2066FDE6-251D-4CED-8D78-DE5F29DE40FB}" dt="2025-02-10T16:55:54.972" v="125" actId="1076"/>
          <ac:picMkLst>
            <pc:docMk/>
            <pc:sldMk cId="2361145867" sldId="398"/>
            <ac:picMk id="10" creationId="{1DEA59C2-5800-D4D0-B253-B47A04200086}"/>
          </ac:picMkLst>
        </pc:picChg>
        <pc:picChg chg="add mod">
          <ac:chgData name="Mustafa Alkaya" userId="aacbf56ada369191" providerId="Windows Live" clId="Web-{2066FDE6-251D-4CED-8D78-DE5F29DE40FB}" dt="2025-02-10T17:38:20.605" v="281" actId="14100"/>
          <ac:picMkLst>
            <pc:docMk/>
            <pc:sldMk cId="2361145867" sldId="398"/>
            <ac:picMk id="11" creationId="{C4EC7B66-8D43-18B4-A291-90C46FB8A614}"/>
          </ac:picMkLst>
        </pc:picChg>
      </pc:sldChg>
      <pc:sldChg chg="new del">
        <pc:chgData name="Mustafa Alkaya" userId="aacbf56ada369191" providerId="Windows Live" clId="Web-{2066FDE6-251D-4CED-8D78-DE5F29DE40FB}" dt="2025-02-10T17:34:19.642" v="162"/>
        <pc:sldMkLst>
          <pc:docMk/>
          <pc:sldMk cId="3292829383" sldId="399"/>
        </pc:sldMkLst>
      </pc:sldChg>
    </pc:docChg>
  </pc:docChgLst>
  <pc:docChgLst>
    <pc:chgData name="Erdem Agfirat" userId="3def093e706752c9" providerId="Windows Live" clId="Web-{6F83E127-227F-4B6F-BB1D-2FFA8361073D}"/>
    <pc:docChg chg="modSld">
      <pc:chgData name="Erdem Agfirat" userId="3def093e706752c9" providerId="Windows Live" clId="Web-{6F83E127-227F-4B6F-BB1D-2FFA8361073D}" dt="2025-02-09T19:28:23.127" v="0"/>
      <pc:docMkLst>
        <pc:docMk/>
      </pc:docMkLst>
      <pc:sldChg chg="delSp">
        <pc:chgData name="Erdem Agfirat" userId="3def093e706752c9" providerId="Windows Live" clId="Web-{6F83E127-227F-4B6F-BB1D-2FFA8361073D}" dt="2025-02-09T19:28:23.127" v="0"/>
        <pc:sldMkLst>
          <pc:docMk/>
          <pc:sldMk cId="2278355680" sldId="394"/>
        </pc:sldMkLst>
      </pc:sldChg>
    </pc:docChg>
  </pc:docChgLst>
  <pc:docChgLst>
    <pc:chgData name="Agah Celebi" userId="5990b23d9d5bc4c9" providerId="Windows Live" clId="Web-{58637C39-5C5A-4E15-95C2-1AF0248FB42A}"/>
    <pc:docChg chg="addSld delSld modSld">
      <pc:chgData name="Agah Celebi" userId="5990b23d9d5bc4c9" providerId="Windows Live" clId="Web-{58637C39-5C5A-4E15-95C2-1AF0248FB42A}" dt="2025-02-03T20:11:45.284" v="555"/>
      <pc:docMkLst>
        <pc:docMk/>
      </pc:docMkLst>
      <pc:sldChg chg="del">
        <pc:chgData name="Agah Celebi" userId="5990b23d9d5bc4c9" providerId="Windows Live" clId="Web-{58637C39-5C5A-4E15-95C2-1AF0248FB42A}" dt="2025-02-03T20:11:45.284" v="555"/>
        <pc:sldMkLst>
          <pc:docMk/>
          <pc:sldMk cId="497478867" sldId="346"/>
        </pc:sldMkLst>
      </pc:sldChg>
      <pc:sldChg chg="modSp">
        <pc:chgData name="Agah Celebi" userId="5990b23d9d5bc4c9" providerId="Windows Live" clId="Web-{58637C39-5C5A-4E15-95C2-1AF0248FB42A}" dt="2025-02-03T19:36:59.954" v="524" actId="20577"/>
        <pc:sldMkLst>
          <pc:docMk/>
          <pc:sldMk cId="2569825678" sldId="364"/>
        </pc:sldMkLst>
        <pc:spChg chg="mod">
          <ac:chgData name="Agah Celebi" userId="5990b23d9d5bc4c9" providerId="Windows Live" clId="Web-{58637C39-5C5A-4E15-95C2-1AF0248FB42A}" dt="2025-02-03T19:34:04.230" v="295" actId="20577"/>
          <ac:spMkLst>
            <pc:docMk/>
            <pc:sldMk cId="2569825678" sldId="364"/>
            <ac:spMk id="5" creationId="{2A85137A-ED38-AD0E-1A2C-833087357C67}"/>
          </ac:spMkLst>
        </pc:spChg>
        <pc:spChg chg="mod">
          <ac:chgData name="Agah Celebi" userId="5990b23d9d5bc4c9" providerId="Windows Live" clId="Web-{58637C39-5C5A-4E15-95C2-1AF0248FB42A}" dt="2025-02-03T19:36:59.954" v="524" actId="20577"/>
          <ac:spMkLst>
            <pc:docMk/>
            <pc:sldMk cId="2569825678" sldId="364"/>
            <ac:spMk id="6" creationId="{EA21F40A-E552-67E7-83F6-7B0B6DD21032}"/>
          </ac:spMkLst>
        </pc:spChg>
      </pc:sldChg>
      <pc:sldChg chg="addSp delSp modSp add replId">
        <pc:chgData name="Agah Celebi" userId="5990b23d9d5bc4c9" providerId="Windows Live" clId="Web-{58637C39-5C5A-4E15-95C2-1AF0248FB42A}" dt="2025-02-03T19:18:57.389" v="79" actId="1076"/>
        <pc:sldMkLst>
          <pc:docMk/>
          <pc:sldMk cId="2373400924" sldId="372"/>
        </pc:sldMkLst>
        <pc:spChg chg="mod">
          <ac:chgData name="Agah Celebi" userId="5990b23d9d5bc4c9" providerId="Windows Live" clId="Web-{58637C39-5C5A-4E15-95C2-1AF0248FB42A}" dt="2025-02-03T19:15:56.306" v="3" actId="20577"/>
          <ac:spMkLst>
            <pc:docMk/>
            <pc:sldMk cId="2373400924" sldId="372"/>
            <ac:spMk id="5" creationId="{85ADD199-C305-F1BA-9DC6-A82080042FDD}"/>
          </ac:spMkLst>
        </pc:spChg>
        <pc:picChg chg="add mod">
          <ac:chgData name="Agah Celebi" userId="5990b23d9d5bc4c9" providerId="Windows Live" clId="Web-{58637C39-5C5A-4E15-95C2-1AF0248FB42A}" dt="2025-02-03T19:18:57.389" v="79" actId="1076"/>
          <ac:picMkLst>
            <pc:docMk/>
            <pc:sldMk cId="2373400924" sldId="372"/>
            <ac:picMk id="10" creationId="{A16FEDAC-2A7E-C9DE-7842-5468C51D4834}"/>
          </ac:picMkLst>
        </pc:picChg>
      </pc:sldChg>
      <pc:sldChg chg="addSp delSp modSp add replId">
        <pc:chgData name="Agah Celebi" userId="5990b23d9d5bc4c9" providerId="Windows Live" clId="Web-{58637C39-5C5A-4E15-95C2-1AF0248FB42A}" dt="2025-02-03T19:17:44.153" v="52" actId="14100"/>
        <pc:sldMkLst>
          <pc:docMk/>
          <pc:sldMk cId="305887204" sldId="373"/>
        </pc:sldMkLst>
        <pc:picChg chg="add mod">
          <ac:chgData name="Agah Celebi" userId="5990b23d9d5bc4c9" providerId="Windows Live" clId="Web-{58637C39-5C5A-4E15-95C2-1AF0248FB42A}" dt="2025-02-03T19:17:44.153" v="52" actId="14100"/>
          <ac:picMkLst>
            <pc:docMk/>
            <pc:sldMk cId="305887204" sldId="373"/>
            <ac:picMk id="13" creationId="{A8ED2C03-D13F-A5DD-702C-B05464FAD116}"/>
          </ac:picMkLst>
        </pc:picChg>
        <pc:picChg chg="add mod">
          <ac:chgData name="Agah Celebi" userId="5990b23d9d5bc4c9" providerId="Windows Live" clId="Web-{58637C39-5C5A-4E15-95C2-1AF0248FB42A}" dt="2025-02-03T19:17:40.246" v="51" actId="14100"/>
          <ac:picMkLst>
            <pc:docMk/>
            <pc:sldMk cId="305887204" sldId="373"/>
            <ac:picMk id="14" creationId="{C2252AD5-8C75-A13C-82DC-BCA2BEC466D8}"/>
          </ac:picMkLst>
        </pc:picChg>
      </pc:sldChg>
      <pc:sldChg chg="addSp delSp modSp add replId">
        <pc:chgData name="Agah Celebi" userId="5990b23d9d5bc4c9" providerId="Windows Live" clId="Web-{58637C39-5C5A-4E15-95C2-1AF0248FB42A}" dt="2025-02-03T20:06:14.138" v="554" actId="1076"/>
        <pc:sldMkLst>
          <pc:docMk/>
          <pc:sldMk cId="1075792875" sldId="374"/>
        </pc:sldMkLst>
        <pc:spChg chg="mod">
          <ac:chgData name="Agah Celebi" userId="5990b23d9d5bc4c9" providerId="Windows Live" clId="Web-{58637C39-5C5A-4E15-95C2-1AF0248FB42A}" dt="2025-02-03T19:20:17.861" v="109" actId="20577"/>
          <ac:spMkLst>
            <pc:docMk/>
            <pc:sldMk cId="1075792875" sldId="374"/>
            <ac:spMk id="5" creationId="{8D1BF68F-F9D3-A633-0C34-96C27A950A49}"/>
          </ac:spMkLst>
        </pc:spChg>
        <pc:spChg chg="add mod">
          <ac:chgData name="Agah Celebi" userId="5990b23d9d5bc4c9" providerId="Windows Live" clId="Web-{58637C39-5C5A-4E15-95C2-1AF0248FB42A}" dt="2025-02-03T19:24:23.102" v="281" actId="20577"/>
          <ac:spMkLst>
            <pc:docMk/>
            <pc:sldMk cId="1075792875" sldId="374"/>
            <ac:spMk id="6" creationId="{ECE6685B-57AD-ADD4-4507-8D215B8795BF}"/>
          </ac:spMkLst>
        </pc:spChg>
        <pc:spChg chg="add mod">
          <ac:chgData name="Agah Celebi" userId="5990b23d9d5bc4c9" providerId="Windows Live" clId="Web-{58637C39-5C5A-4E15-95C2-1AF0248FB42A}" dt="2025-02-03T20:06:14.138" v="554" actId="1076"/>
          <ac:spMkLst>
            <pc:docMk/>
            <pc:sldMk cId="1075792875" sldId="374"/>
            <ac:spMk id="7" creationId="{8B808794-4C5A-F83C-7C0D-9A4B581823A2}"/>
          </ac:spMkLst>
        </pc:spChg>
        <pc:picChg chg="mod">
          <ac:chgData name="Agah Celebi" userId="5990b23d9d5bc4c9" providerId="Windows Live" clId="Web-{58637C39-5C5A-4E15-95C2-1AF0248FB42A}" dt="2025-02-03T19:19:54.782" v="89" actId="1076"/>
          <ac:picMkLst>
            <pc:docMk/>
            <pc:sldMk cId="1075792875" sldId="374"/>
            <ac:picMk id="11" creationId="{6977CE64-FA72-7AA6-B611-B753BB0E89D0}"/>
          </ac:picMkLst>
        </pc:picChg>
        <pc:picChg chg="mod">
          <ac:chgData name="Agah Celebi" userId="5990b23d9d5bc4c9" providerId="Windows Live" clId="Web-{58637C39-5C5A-4E15-95C2-1AF0248FB42A}" dt="2025-02-03T19:19:22.765" v="82" actId="14100"/>
          <ac:picMkLst>
            <pc:docMk/>
            <pc:sldMk cId="1075792875" sldId="374"/>
            <ac:picMk id="12" creationId="{C25224B8-D866-D070-389E-DBBC96C08B64}"/>
          </ac:picMkLst>
        </pc:picChg>
      </pc:sldChg>
      <pc:sldChg chg="addSp delSp modSp add replId">
        <pc:chgData name="Agah Celebi" userId="5990b23d9d5bc4c9" providerId="Windows Live" clId="Web-{58637C39-5C5A-4E15-95C2-1AF0248FB42A}" dt="2025-02-03T19:23:09.991" v="212" actId="20577"/>
        <pc:sldMkLst>
          <pc:docMk/>
          <pc:sldMk cId="3505392070" sldId="375"/>
        </pc:sldMkLst>
        <pc:spChg chg="mod">
          <ac:chgData name="Agah Celebi" userId="5990b23d9d5bc4c9" providerId="Windows Live" clId="Web-{58637C39-5C5A-4E15-95C2-1AF0248FB42A}" dt="2025-02-03T19:20:24.330" v="120" actId="20577"/>
          <ac:spMkLst>
            <pc:docMk/>
            <pc:sldMk cId="3505392070" sldId="375"/>
            <ac:spMk id="5" creationId="{2BA968E2-5AD8-AD29-D60F-28A878FF83C1}"/>
          </ac:spMkLst>
        </pc:spChg>
        <pc:spChg chg="add mod">
          <ac:chgData name="Agah Celebi" userId="5990b23d9d5bc4c9" providerId="Windows Live" clId="Web-{58637C39-5C5A-4E15-95C2-1AF0248FB42A}" dt="2025-02-03T19:23:09.991" v="212" actId="20577"/>
          <ac:spMkLst>
            <pc:docMk/>
            <pc:sldMk cId="3505392070" sldId="375"/>
            <ac:spMk id="13" creationId="{73B48ED7-A65B-77BB-DAEE-BB3E759F160A}"/>
          </ac:spMkLst>
        </pc:spChg>
        <pc:picChg chg="add mod">
          <ac:chgData name="Agah Celebi" userId="5990b23d9d5bc4c9" providerId="Windows Live" clId="Web-{58637C39-5C5A-4E15-95C2-1AF0248FB42A}" dt="2025-02-03T19:20:03.626" v="90" actId="14100"/>
          <ac:picMkLst>
            <pc:docMk/>
            <pc:sldMk cId="3505392070" sldId="375"/>
            <ac:picMk id="6" creationId="{4D84B047-5A6A-745A-F9FD-108BE9540447}"/>
          </ac:picMkLst>
        </pc:picChg>
        <pc:picChg chg="add mod">
          <ac:chgData name="Agah Celebi" userId="5990b23d9d5bc4c9" providerId="Windows Live" clId="Web-{58637C39-5C5A-4E15-95C2-1AF0248FB42A}" dt="2025-02-03T19:19:43.797" v="87" actId="14100"/>
          <ac:picMkLst>
            <pc:docMk/>
            <pc:sldMk cId="3505392070" sldId="375"/>
            <ac:picMk id="7" creationId="{54B76589-C75E-1E11-39B7-9D12C3F59692}"/>
          </ac:picMkLst>
        </pc:picChg>
      </pc:sldChg>
    </pc:docChg>
  </pc:docChgLst>
  <pc:docChgLst>
    <pc:chgData name="Erdem Agfirat" userId="3def093e706752c9" providerId="Windows Live" clId="Web-{9DCD58EE-6CFF-40F6-B796-D33618B75741}"/>
    <pc:docChg chg="delSld modSld sldOrd">
      <pc:chgData name="Erdem Agfirat" userId="3def093e706752c9" providerId="Windows Live" clId="Web-{9DCD58EE-6CFF-40F6-B796-D33618B75741}" dt="2025-02-06T16:59:05.297" v="17" actId="1076"/>
      <pc:docMkLst>
        <pc:docMk/>
      </pc:docMkLst>
      <pc:sldChg chg="addSp modSp ord">
        <pc:chgData name="Erdem Agfirat" userId="3def093e706752c9" providerId="Windows Live" clId="Web-{9DCD58EE-6CFF-40F6-B796-D33618B75741}" dt="2025-02-06T16:59:05.297" v="17" actId="1076"/>
        <pc:sldMkLst>
          <pc:docMk/>
          <pc:sldMk cId="2899606391" sldId="356"/>
        </pc:sldMkLst>
      </pc:sldChg>
      <pc:sldChg chg="modSp del">
        <pc:chgData name="Erdem Agfirat" userId="3def093e706752c9" providerId="Windows Live" clId="Web-{9DCD58EE-6CFF-40F6-B796-D33618B75741}" dt="2025-02-06T16:58:55.078" v="13"/>
        <pc:sldMkLst>
          <pc:docMk/>
          <pc:sldMk cId="1831668785" sldId="383"/>
        </pc:sldMkLst>
      </pc:sldChg>
      <pc:sldChg chg="addSp modSp">
        <pc:chgData name="Erdem Agfirat" userId="3def093e706752c9" providerId="Windows Live" clId="Web-{9DCD58EE-6CFF-40F6-B796-D33618B75741}" dt="2025-02-06T16:59:02.953" v="16" actId="1076"/>
        <pc:sldMkLst>
          <pc:docMk/>
          <pc:sldMk cId="2608332507" sldId="384"/>
        </pc:sldMkLst>
        <pc:picChg chg="add mod">
          <ac:chgData name="Erdem Agfirat" userId="3def093e706752c9" providerId="Windows Live" clId="Web-{9DCD58EE-6CFF-40F6-B796-D33618B75741}" dt="2025-02-06T16:59:02.953" v="16" actId="1076"/>
          <ac:picMkLst>
            <pc:docMk/>
            <pc:sldMk cId="2608332507" sldId="384"/>
            <ac:picMk id="7" creationId="{64CC3305-24BB-B17C-A12D-1931C0B641CE}"/>
          </ac:picMkLst>
        </pc:picChg>
      </pc:sldChg>
    </pc:docChg>
  </pc:docChgLst>
  <pc:docChgLst>
    <pc:chgData name="Mustafa Alkaya" userId="aacbf56ada369191" providerId="Windows Live" clId="Web-{C7652BC7-69DD-4A9E-83A8-E1EE2E1EF183}"/>
    <pc:docChg chg="addSld modSld">
      <pc:chgData name="Mustafa Alkaya" userId="aacbf56ada369191" providerId="Windows Live" clId="Web-{C7652BC7-69DD-4A9E-83A8-E1EE2E1EF183}" dt="2025-02-08T13:14:21.573" v="327" actId="20577"/>
      <pc:docMkLst>
        <pc:docMk/>
      </pc:docMkLst>
      <pc:sldChg chg="modSp">
        <pc:chgData name="Mustafa Alkaya" userId="aacbf56ada369191" providerId="Windows Live" clId="Web-{C7652BC7-69DD-4A9E-83A8-E1EE2E1EF183}" dt="2025-02-08T12:03:42.523" v="2" actId="20577"/>
        <pc:sldMkLst>
          <pc:docMk/>
          <pc:sldMk cId="435471241" sldId="323"/>
        </pc:sldMkLst>
        <pc:spChg chg="mod">
          <ac:chgData name="Mustafa Alkaya" userId="aacbf56ada369191" providerId="Windows Live" clId="Web-{C7652BC7-69DD-4A9E-83A8-E1EE2E1EF183}" dt="2025-02-08T12:03:42.523" v="2" actId="20577"/>
          <ac:spMkLst>
            <pc:docMk/>
            <pc:sldMk cId="435471241" sldId="323"/>
            <ac:spMk id="45" creationId="{EF596506-7B08-1B2C-35A0-F56B97094C9F}"/>
          </ac:spMkLst>
        </pc:spChg>
      </pc:sldChg>
      <pc:sldChg chg="addSp delSp modSp">
        <pc:chgData name="Mustafa Alkaya" userId="aacbf56ada369191" providerId="Windows Live" clId="Web-{C7652BC7-69DD-4A9E-83A8-E1EE2E1EF183}" dt="2025-02-08T12:42:04.489" v="215" actId="20577"/>
        <pc:sldMkLst>
          <pc:docMk/>
          <pc:sldMk cId="3736741865" sldId="361"/>
        </pc:sldMkLst>
        <pc:spChg chg="mod">
          <ac:chgData name="Mustafa Alkaya" userId="aacbf56ada369191" providerId="Windows Live" clId="Web-{C7652BC7-69DD-4A9E-83A8-E1EE2E1EF183}" dt="2025-02-08T12:42:04.489" v="215" actId="20577"/>
          <ac:spMkLst>
            <pc:docMk/>
            <pc:sldMk cId="3736741865" sldId="361"/>
            <ac:spMk id="7" creationId="{60C5E49B-5389-6049-A39F-4B9946031523}"/>
          </ac:spMkLst>
        </pc:spChg>
        <pc:spChg chg="add mod">
          <ac:chgData name="Mustafa Alkaya" userId="aacbf56ada369191" providerId="Windows Live" clId="Web-{C7652BC7-69DD-4A9E-83A8-E1EE2E1EF183}" dt="2025-02-08T12:22:28.825" v="138" actId="1076"/>
          <ac:spMkLst>
            <pc:docMk/>
            <pc:sldMk cId="3736741865" sldId="361"/>
            <ac:spMk id="14" creationId="{BFC49984-8495-987C-94B2-B2CFCCA95935}"/>
          </ac:spMkLst>
        </pc:spChg>
        <pc:picChg chg="add mod">
          <ac:chgData name="Mustafa Alkaya" userId="aacbf56ada369191" providerId="Windows Live" clId="Web-{C7652BC7-69DD-4A9E-83A8-E1EE2E1EF183}" dt="2025-02-08T12:22:00.652" v="129" actId="1076"/>
          <ac:picMkLst>
            <pc:docMk/>
            <pc:sldMk cId="3736741865" sldId="361"/>
            <ac:picMk id="12" creationId="{C3641850-3169-D0A9-E6B0-70FC58700498}"/>
          </ac:picMkLst>
        </pc:picChg>
      </pc:sldChg>
      <pc:sldChg chg="addSp delSp modSp new">
        <pc:chgData name="Mustafa Alkaya" userId="aacbf56ada369191" providerId="Windows Live" clId="Web-{C7652BC7-69DD-4A9E-83A8-E1EE2E1EF183}" dt="2025-02-08T13:14:21.573" v="327" actId="20577"/>
        <pc:sldMkLst>
          <pc:docMk/>
          <pc:sldMk cId="1150651287" sldId="389"/>
        </pc:sldMkLst>
        <pc:spChg chg="mod">
          <ac:chgData name="Mustafa Alkaya" userId="aacbf56ada369191" providerId="Windows Live" clId="Web-{C7652BC7-69DD-4A9E-83A8-E1EE2E1EF183}" dt="2025-02-08T13:04:04.536" v="246" actId="20577"/>
          <ac:spMkLst>
            <pc:docMk/>
            <pc:sldMk cId="1150651287" sldId="389"/>
            <ac:spMk id="3" creationId="{716C4238-AFFE-AA62-73A8-CE9817A33BD4}"/>
          </ac:spMkLst>
        </pc:spChg>
        <pc:spChg chg="mod">
          <ac:chgData name="Mustafa Alkaya" userId="aacbf56ada369191" providerId="Windows Live" clId="Web-{C7652BC7-69DD-4A9E-83A8-E1EE2E1EF183}" dt="2025-02-08T13:14:21.573" v="327" actId="20577"/>
          <ac:spMkLst>
            <pc:docMk/>
            <pc:sldMk cId="1150651287" sldId="389"/>
            <ac:spMk id="5" creationId="{A4F666A0-111C-11DE-1A4C-8E77498305DF}"/>
          </ac:spMkLst>
        </pc:spChg>
        <pc:spChg chg="mod">
          <ac:chgData name="Mustafa Alkaya" userId="aacbf56ada369191" providerId="Windows Live" clId="Web-{C7652BC7-69DD-4A9E-83A8-E1EE2E1EF183}" dt="2025-02-08T13:09:27.649" v="295" actId="1076"/>
          <ac:spMkLst>
            <pc:docMk/>
            <pc:sldMk cId="1150651287" sldId="389"/>
            <ac:spMk id="6" creationId="{5C0038C3-B37E-5857-5161-1F3B46222C85}"/>
          </ac:spMkLst>
        </pc:spChg>
        <pc:spChg chg="add mod">
          <ac:chgData name="Mustafa Alkaya" userId="aacbf56ada369191" providerId="Windows Live" clId="Web-{C7652BC7-69DD-4A9E-83A8-E1EE2E1EF183}" dt="2025-02-08T13:09:51.573" v="301" actId="20577"/>
          <ac:spMkLst>
            <pc:docMk/>
            <pc:sldMk cId="1150651287" sldId="389"/>
            <ac:spMk id="16" creationId="{C670E43C-C49F-BF49-FF4D-83BE2997D18F}"/>
          </ac:spMkLst>
        </pc:spChg>
        <pc:picChg chg="add mod">
          <ac:chgData name="Mustafa Alkaya" userId="aacbf56ada369191" providerId="Windows Live" clId="Web-{C7652BC7-69DD-4A9E-83A8-E1EE2E1EF183}" dt="2025-02-08T13:11:46.595" v="313" actId="14100"/>
          <ac:picMkLst>
            <pc:docMk/>
            <pc:sldMk cId="1150651287" sldId="389"/>
            <ac:picMk id="18" creationId="{C3570FB1-D380-D965-52BF-864C14C23F14}"/>
          </ac:picMkLst>
        </pc:picChg>
        <pc:picChg chg="add mod">
          <ac:chgData name="Mustafa Alkaya" userId="aacbf56ada369191" providerId="Windows Live" clId="Web-{C7652BC7-69DD-4A9E-83A8-E1EE2E1EF183}" dt="2025-02-08T13:12:31.066" v="322" actId="14100"/>
          <ac:picMkLst>
            <pc:docMk/>
            <pc:sldMk cId="1150651287" sldId="389"/>
            <ac:picMk id="19" creationId="{19FF9716-C306-20D6-1B77-80E19B0C864C}"/>
          </ac:picMkLst>
        </pc:picChg>
      </pc:sldChg>
    </pc:docChg>
  </pc:docChgLst>
  <pc:docChgLst>
    <pc:chgData name="Erdem Agfirat" userId="3def093e706752c9" providerId="Windows Live" clId="Web-{19C2DD0A-6B67-4126-AADC-D94FCFFAB52C}"/>
    <pc:docChg chg="modSld">
      <pc:chgData name="Erdem Agfirat" userId="3def093e706752c9" providerId="Windows Live" clId="Web-{19C2DD0A-6B67-4126-AADC-D94FCFFAB52C}" dt="2025-02-09T12:56:07.414" v="1"/>
      <pc:docMkLst>
        <pc:docMk/>
      </pc:docMkLst>
      <pc:sldChg chg="addSp modSp">
        <pc:chgData name="Erdem Agfirat" userId="3def093e706752c9" providerId="Windows Live" clId="Web-{19C2DD0A-6B67-4126-AADC-D94FCFFAB52C}" dt="2025-02-09T12:56:07.414" v="1"/>
        <pc:sldMkLst>
          <pc:docMk/>
          <pc:sldMk cId="2440610122" sldId="385"/>
        </pc:sldMkLst>
        <pc:picChg chg="add mod">
          <ac:chgData name="Erdem Agfirat" userId="3def093e706752c9" providerId="Windows Live" clId="Web-{19C2DD0A-6B67-4126-AADC-D94FCFFAB52C}" dt="2025-02-09T12:55:24.553" v="0"/>
          <ac:picMkLst>
            <pc:docMk/>
            <pc:sldMk cId="2440610122" sldId="385"/>
            <ac:picMk id="3" creationId="{67766AFC-C53C-C0A7-48F2-06D25CA59876}"/>
          </ac:picMkLst>
        </pc:picChg>
        <pc:picChg chg="add mod">
          <ac:chgData name="Erdem Agfirat" userId="3def093e706752c9" providerId="Windows Live" clId="Web-{19C2DD0A-6B67-4126-AADC-D94FCFFAB52C}" dt="2025-02-09T12:56:07.414" v="1"/>
          <ac:picMkLst>
            <pc:docMk/>
            <pc:sldMk cId="2440610122" sldId="385"/>
            <ac:picMk id="7" creationId="{5FFD66FA-1110-4FEF-9140-04DD6377D700}"/>
          </ac:picMkLst>
        </pc:picChg>
      </pc:sldChg>
    </pc:docChg>
  </pc:docChgLst>
  <pc:docChgLst>
    <pc:chgData name="Erdem Agfirat" userId="3def093e706752c9" providerId="Windows Live" clId="Web-{B27A9B96-8583-4C78-A45B-7F5EF39D4FDF}"/>
    <pc:docChg chg="addSld delSld modSld">
      <pc:chgData name="Erdem Agfirat" userId="3def093e706752c9" providerId="Windows Live" clId="Web-{B27A9B96-8583-4C78-A45B-7F5EF39D4FDF}" dt="2025-02-05T11:42:18.459" v="174" actId="14100"/>
      <pc:docMkLst>
        <pc:docMk/>
      </pc:docMkLst>
      <pc:sldChg chg="addSp delSp modSp">
        <pc:chgData name="Erdem Agfirat" userId="3def093e706752c9" providerId="Windows Live" clId="Web-{B27A9B96-8583-4C78-A45B-7F5EF39D4FDF}" dt="2025-02-05T11:22:19.421" v="29"/>
        <pc:sldMkLst>
          <pc:docMk/>
          <pc:sldMk cId="2899606391" sldId="356"/>
        </pc:sldMkLst>
      </pc:sldChg>
      <pc:sldChg chg="addSp delSp modSp">
        <pc:chgData name="Erdem Agfirat" userId="3def093e706752c9" providerId="Windows Live" clId="Web-{B27A9B96-8583-4C78-A45B-7F5EF39D4FDF}" dt="2025-02-05T11:21:46.388" v="27" actId="1076"/>
        <pc:sldMkLst>
          <pc:docMk/>
          <pc:sldMk cId="2088111408" sldId="357"/>
        </pc:sldMkLst>
      </pc:sldChg>
      <pc:sldChg chg="modSp">
        <pc:chgData name="Erdem Agfirat" userId="3def093e706752c9" providerId="Windows Live" clId="Web-{B27A9B96-8583-4C78-A45B-7F5EF39D4FDF}" dt="2025-02-05T11:24:44.101" v="47" actId="20577"/>
        <pc:sldMkLst>
          <pc:docMk/>
          <pc:sldMk cId="1213190179" sldId="358"/>
        </pc:sldMkLst>
      </pc:sldChg>
      <pc:sldChg chg="add del replId">
        <pc:chgData name="Erdem Agfirat" userId="3def093e706752c9" providerId="Windows Live" clId="Web-{B27A9B96-8583-4C78-A45B-7F5EF39D4FDF}" dt="2025-02-05T11:39:17.229" v="49"/>
        <pc:sldMkLst>
          <pc:docMk/>
          <pc:sldMk cId="392418843" sldId="377"/>
        </pc:sldMkLst>
      </pc:sldChg>
      <pc:sldChg chg="addSp delSp modSp add replId">
        <pc:chgData name="Erdem Agfirat" userId="3def093e706752c9" providerId="Windows Live" clId="Web-{B27A9B96-8583-4C78-A45B-7F5EF39D4FDF}" dt="2025-02-05T11:42:18.459" v="174" actId="14100"/>
        <pc:sldMkLst>
          <pc:docMk/>
          <pc:sldMk cId="1068096600" sldId="377"/>
        </pc:sldMkLst>
      </pc:sldChg>
    </pc:docChg>
  </pc:docChgLst>
  <pc:docChgLst>
    <pc:chgData name="Agah Celebi" userId="5990b23d9d5bc4c9" providerId="Windows Live" clId="Web-{C24BAC74-AB30-4E7A-9177-30E6E30B6699}"/>
    <pc:docChg chg="addSld">
      <pc:chgData name="Agah Celebi" userId="5990b23d9d5bc4c9" providerId="Windows Live" clId="Web-{C24BAC74-AB30-4E7A-9177-30E6E30B6699}" dt="2025-02-04T15:10:48.927" v="0"/>
      <pc:docMkLst>
        <pc:docMk/>
      </pc:docMkLst>
      <pc:sldChg chg="add replId">
        <pc:chgData name="Agah Celebi" userId="5990b23d9d5bc4c9" providerId="Windows Live" clId="Web-{C24BAC74-AB30-4E7A-9177-30E6E30B6699}" dt="2025-02-04T15:10:48.927" v="0"/>
        <pc:sldMkLst>
          <pc:docMk/>
          <pc:sldMk cId="702173695" sldId="376"/>
        </pc:sldMkLst>
      </pc:sldChg>
    </pc:docChg>
  </pc:docChgLst>
  <pc:docChgLst>
    <pc:chgData name="Erdem Agfirat" userId="3def093e706752c9" providerId="Windows Live" clId="Web-{9A366B8C-17A5-4B29-8DA6-BCC6FABA069D}"/>
    <pc:docChg chg="addSld delSld modSld sldOrd">
      <pc:chgData name="Erdem Agfirat" userId="3def093e706752c9" providerId="Windows Live" clId="Web-{9A366B8C-17A5-4B29-8DA6-BCC6FABA069D}" dt="2025-02-06T12:26:50.755" v="46"/>
      <pc:docMkLst>
        <pc:docMk/>
      </pc:docMkLst>
      <pc:sldChg chg="delSp modSp del">
        <pc:chgData name="Erdem Agfirat" userId="3def093e706752c9" providerId="Windows Live" clId="Web-{9A366B8C-17A5-4B29-8DA6-BCC6FABA069D}" dt="2025-02-06T12:08:18.826" v="44"/>
        <pc:sldMkLst>
          <pc:docMk/>
          <pc:sldMk cId="733486021" sldId="378"/>
        </pc:sldMkLst>
      </pc:sldChg>
      <pc:sldChg chg="del ord">
        <pc:chgData name="Erdem Agfirat" userId="3def093e706752c9" providerId="Windows Live" clId="Web-{9A366B8C-17A5-4B29-8DA6-BCC6FABA069D}" dt="2025-02-06T12:26:45.802" v="45"/>
        <pc:sldMkLst>
          <pc:docMk/>
          <pc:sldMk cId="148414727" sldId="379"/>
        </pc:sldMkLst>
      </pc:sldChg>
      <pc:sldChg chg="addSp delSp modSp add del replId">
        <pc:chgData name="Erdem Agfirat" userId="3def093e706752c9" providerId="Windows Live" clId="Web-{9A366B8C-17A5-4B29-8DA6-BCC6FABA069D}" dt="2025-02-06T12:26:50.755" v="46"/>
        <pc:sldMkLst>
          <pc:docMk/>
          <pc:sldMk cId="2258338785" sldId="380"/>
        </pc:sldMkLst>
      </pc:sldChg>
    </pc:docChg>
  </pc:docChgLst>
  <pc:docChgLst>
    <pc:chgData name="Agah Celebi" userId="5990b23d9d5bc4c9" providerId="Windows Live" clId="Web-{4FB5BAD2-476C-48EC-8BF6-14160DF56D3D}"/>
    <pc:docChg chg="addSld delSld modSld sldOrd">
      <pc:chgData name="Agah Celebi" userId="5990b23d9d5bc4c9" providerId="Windows Live" clId="Web-{4FB5BAD2-476C-48EC-8BF6-14160DF56D3D}" dt="2025-02-03T14:39:05.043" v="1013" actId="20577"/>
      <pc:docMkLst>
        <pc:docMk/>
      </pc:docMkLst>
      <pc:sldChg chg="del">
        <pc:chgData name="Agah Celebi" userId="5990b23d9d5bc4c9" providerId="Windows Live" clId="Web-{4FB5BAD2-476C-48EC-8BF6-14160DF56D3D}" dt="2025-02-03T13:59:27.943" v="0"/>
        <pc:sldMkLst>
          <pc:docMk/>
          <pc:sldMk cId="1199702135" sldId="341"/>
        </pc:sldMkLst>
      </pc:sldChg>
      <pc:sldChg chg="ord">
        <pc:chgData name="Agah Celebi" userId="5990b23d9d5bc4c9" providerId="Windows Live" clId="Web-{4FB5BAD2-476C-48EC-8BF6-14160DF56D3D}" dt="2025-02-03T14:03:00.357" v="1"/>
        <pc:sldMkLst>
          <pc:docMk/>
          <pc:sldMk cId="497478867" sldId="346"/>
        </pc:sldMkLst>
      </pc:sldChg>
      <pc:sldChg chg="addSp delSp modSp">
        <pc:chgData name="Agah Celebi" userId="5990b23d9d5bc4c9" providerId="Windows Live" clId="Web-{4FB5BAD2-476C-48EC-8BF6-14160DF56D3D}" dt="2025-02-03T14:17:11.809" v="435" actId="1076"/>
        <pc:sldMkLst>
          <pc:docMk/>
          <pc:sldMk cId="667530008" sldId="351"/>
        </pc:sldMkLst>
        <pc:spChg chg="mod">
          <ac:chgData name="Agah Celebi" userId="5990b23d9d5bc4c9" providerId="Windows Live" clId="Web-{4FB5BAD2-476C-48EC-8BF6-14160DF56D3D}" dt="2025-02-03T14:13:19.348" v="423" actId="20577"/>
          <ac:spMkLst>
            <pc:docMk/>
            <pc:sldMk cId="667530008" sldId="351"/>
            <ac:spMk id="5" creationId="{6AA12302-CCAA-1B45-DAB3-CC774EB4D13C}"/>
          </ac:spMkLst>
        </pc:spChg>
        <pc:picChg chg="add mod">
          <ac:chgData name="Agah Celebi" userId="5990b23d9d5bc4c9" providerId="Windows Live" clId="Web-{4FB5BAD2-476C-48EC-8BF6-14160DF56D3D}" dt="2025-02-03T14:17:11.809" v="435" actId="1076"/>
          <ac:picMkLst>
            <pc:docMk/>
            <pc:sldMk cId="667530008" sldId="351"/>
            <ac:picMk id="6" creationId="{17849A74-3EDA-098B-85E1-A8D02F98DF73}"/>
          </ac:picMkLst>
        </pc:picChg>
      </pc:sldChg>
      <pc:sldChg chg="modSp">
        <pc:chgData name="Agah Celebi" userId="5990b23d9d5bc4c9" providerId="Windows Live" clId="Web-{4FB5BAD2-476C-48EC-8BF6-14160DF56D3D}" dt="2025-02-03T14:13:04.332" v="405" actId="20577"/>
        <pc:sldMkLst>
          <pc:docMk/>
          <pc:sldMk cId="2378787593" sldId="363"/>
        </pc:sldMkLst>
        <pc:spChg chg="mod">
          <ac:chgData name="Agah Celebi" userId="5990b23d9d5bc4c9" providerId="Windows Live" clId="Web-{4FB5BAD2-476C-48EC-8BF6-14160DF56D3D}" dt="2025-02-03T14:07:37.883" v="3" actId="20577"/>
          <ac:spMkLst>
            <pc:docMk/>
            <pc:sldMk cId="2378787593" sldId="363"/>
            <ac:spMk id="5" creationId="{9B27A61E-2799-60E9-7A20-120CC3944EDD}"/>
          </ac:spMkLst>
        </pc:spChg>
        <pc:spChg chg="mod">
          <ac:chgData name="Agah Celebi" userId="5990b23d9d5bc4c9" providerId="Windows Live" clId="Web-{4FB5BAD2-476C-48EC-8BF6-14160DF56D3D}" dt="2025-02-03T14:13:04.332" v="405" actId="20577"/>
          <ac:spMkLst>
            <pc:docMk/>
            <pc:sldMk cId="2378787593" sldId="363"/>
            <ac:spMk id="6" creationId="{AA872EC3-5564-CE68-DDB4-E6F39375534A}"/>
          </ac:spMkLst>
        </pc:spChg>
      </pc:sldChg>
      <pc:sldChg chg="modSp add replId">
        <pc:chgData name="Agah Celebi" userId="5990b23d9d5bc4c9" providerId="Windows Live" clId="Web-{4FB5BAD2-476C-48EC-8BF6-14160DF56D3D}" dt="2025-02-03T14:39:05.043" v="1013" actId="20577"/>
        <pc:sldMkLst>
          <pc:docMk/>
          <pc:sldMk cId="2476380123" sldId="369"/>
        </pc:sldMkLst>
        <pc:spChg chg="mod">
          <ac:chgData name="Agah Celebi" userId="5990b23d9d5bc4c9" providerId="Windows Live" clId="Web-{4FB5BAD2-476C-48EC-8BF6-14160DF56D3D}" dt="2025-02-03T14:13:27.473" v="426" actId="20577"/>
          <ac:spMkLst>
            <pc:docMk/>
            <pc:sldMk cId="2476380123" sldId="369"/>
            <ac:spMk id="5" creationId="{21605825-AF33-8129-FC62-05BB57B60365}"/>
          </ac:spMkLst>
        </pc:spChg>
        <pc:spChg chg="mod">
          <ac:chgData name="Agah Celebi" userId="5990b23d9d5bc4c9" providerId="Windows Live" clId="Web-{4FB5BAD2-476C-48EC-8BF6-14160DF56D3D}" dt="2025-02-03T14:39:05.043" v="1013" actId="20577"/>
          <ac:spMkLst>
            <pc:docMk/>
            <pc:sldMk cId="2476380123" sldId="369"/>
            <ac:spMk id="7" creationId="{7FC056F5-26D8-B7BF-1F4A-BEDE1A203BF5}"/>
          </ac:spMkLst>
        </pc:spChg>
      </pc:sldChg>
      <pc:sldChg chg="addSp delSp modSp add ord replId">
        <pc:chgData name="Agah Celebi" userId="5990b23d9d5bc4c9" providerId="Windows Live" clId="Web-{4FB5BAD2-476C-48EC-8BF6-14160DF56D3D}" dt="2025-02-03T14:22:47.353" v="464"/>
        <pc:sldMkLst>
          <pc:docMk/>
          <pc:sldMk cId="35881803" sldId="370"/>
        </pc:sldMkLst>
        <pc:picChg chg="add mod">
          <ac:chgData name="Agah Celebi" userId="5990b23d9d5bc4c9" providerId="Windows Live" clId="Web-{4FB5BAD2-476C-48EC-8BF6-14160DF56D3D}" dt="2025-02-03T14:19:24.673" v="456"/>
          <ac:picMkLst>
            <pc:docMk/>
            <pc:sldMk cId="35881803" sldId="370"/>
            <ac:picMk id="7" creationId="{43E86B40-7F64-4596-9C11-6288C313CD58}"/>
          </ac:picMkLst>
        </pc:picChg>
      </pc:sldChg>
      <pc:sldChg chg="addSp delSp modSp add ord replId">
        <pc:chgData name="Agah Celebi" userId="5990b23d9d5bc4c9" providerId="Windows Live" clId="Web-{4FB5BAD2-476C-48EC-8BF6-14160DF56D3D}" dt="2025-02-03T14:22:40.087" v="463" actId="1076"/>
        <pc:sldMkLst>
          <pc:docMk/>
          <pc:sldMk cId="4269741461" sldId="371"/>
        </pc:sldMkLst>
        <pc:picChg chg="add mod">
          <ac:chgData name="Agah Celebi" userId="5990b23d9d5bc4c9" providerId="Windows Live" clId="Web-{4FB5BAD2-476C-48EC-8BF6-14160DF56D3D}" dt="2025-02-03T14:22:40.087" v="463" actId="1076"/>
          <ac:picMkLst>
            <pc:docMk/>
            <pc:sldMk cId="4269741461" sldId="371"/>
            <ac:picMk id="6" creationId="{FA451635-8B35-184A-B88C-7C8EC9014887}"/>
          </ac:picMkLst>
        </pc:picChg>
      </pc:sldChg>
    </pc:docChg>
  </pc:docChgLst>
  <pc:docChgLst>
    <pc:chgData name="Erdem Agfirat" userId="3def093e706752c9" providerId="Windows Live" clId="Web-{5EEC272E-B481-443B-B293-E0D47CB13007}"/>
    <pc:docChg chg="modSld">
      <pc:chgData name="Erdem Agfirat" userId="3def093e706752c9" providerId="Windows Live" clId="Web-{5EEC272E-B481-443B-B293-E0D47CB13007}" dt="2025-02-03T13:53:07.258" v="28" actId="20577"/>
      <pc:docMkLst>
        <pc:docMk/>
      </pc:docMkLst>
      <pc:sldChg chg="modSp">
        <pc:chgData name="Erdem Agfirat" userId="3def093e706752c9" providerId="Windows Live" clId="Web-{5EEC272E-B481-443B-B293-E0D47CB13007}" dt="2025-02-03T13:53:07.258" v="28" actId="20577"/>
        <pc:sldMkLst>
          <pc:docMk/>
          <pc:sldMk cId="2088111408" sldId="357"/>
        </pc:sldMkLst>
      </pc:sldChg>
    </pc:docChg>
  </pc:docChgLst>
  <pc:docChgLst>
    <pc:chgData name="Mustafa Alkaya" userId="aacbf56ada369191" providerId="Windows Live" clId="Web-{1EEE6196-8AC0-4BFD-82BF-53FB0A7FDC1C}"/>
    <pc:docChg chg="addSld modSld">
      <pc:chgData name="Mustafa Alkaya" userId="aacbf56ada369191" providerId="Windows Live" clId="Web-{1EEE6196-8AC0-4BFD-82BF-53FB0A7FDC1C}" dt="2025-02-09T18:10:11.985" v="86" actId="1076"/>
      <pc:docMkLst>
        <pc:docMk/>
      </pc:docMkLst>
      <pc:sldChg chg="addSp delSp modSp">
        <pc:chgData name="Mustafa Alkaya" userId="aacbf56ada369191" providerId="Windows Live" clId="Web-{1EEE6196-8AC0-4BFD-82BF-53FB0A7FDC1C}" dt="2025-02-09T18:10:11.985" v="86" actId="1076"/>
        <pc:sldMkLst>
          <pc:docMk/>
          <pc:sldMk cId="2095473313" sldId="347"/>
        </pc:sldMkLst>
        <pc:picChg chg="add mod">
          <ac:chgData name="Mustafa Alkaya" userId="aacbf56ada369191" providerId="Windows Live" clId="Web-{1EEE6196-8AC0-4BFD-82BF-53FB0A7FDC1C}" dt="2025-02-09T18:10:11.985" v="86" actId="1076"/>
          <ac:picMkLst>
            <pc:docMk/>
            <pc:sldMk cId="2095473313" sldId="347"/>
            <ac:picMk id="6" creationId="{9C4B7FFE-86CC-A547-4954-E73C9E5308EB}"/>
          </ac:picMkLst>
        </pc:picChg>
      </pc:sldChg>
      <pc:sldChg chg="addSp delSp modSp">
        <pc:chgData name="Mustafa Alkaya" userId="aacbf56ada369191" providerId="Windows Live" clId="Web-{1EEE6196-8AC0-4BFD-82BF-53FB0A7FDC1C}" dt="2025-02-09T17:56:00.738" v="82" actId="14100"/>
        <pc:sldMkLst>
          <pc:docMk/>
          <pc:sldMk cId="343264474" sldId="362"/>
        </pc:sldMkLst>
        <pc:picChg chg="add mod">
          <ac:chgData name="Mustafa Alkaya" userId="aacbf56ada369191" providerId="Windows Live" clId="Web-{1EEE6196-8AC0-4BFD-82BF-53FB0A7FDC1C}" dt="2025-02-09T17:55:10.111" v="68" actId="1076"/>
          <ac:picMkLst>
            <pc:docMk/>
            <pc:sldMk cId="343264474" sldId="362"/>
            <ac:picMk id="10" creationId="{FE219AE3-4C5B-FE91-4A91-6058521FAE9E}"/>
          </ac:picMkLst>
        </pc:picChg>
        <pc:picChg chg="add mod">
          <ac:chgData name="Mustafa Alkaya" userId="aacbf56ada369191" providerId="Windows Live" clId="Web-{1EEE6196-8AC0-4BFD-82BF-53FB0A7FDC1C}" dt="2025-02-09T17:55:57.941" v="81" actId="14100"/>
          <ac:picMkLst>
            <pc:docMk/>
            <pc:sldMk cId="343264474" sldId="362"/>
            <ac:picMk id="11" creationId="{915C945D-655D-293C-7367-480E30742878}"/>
          </ac:picMkLst>
        </pc:picChg>
        <pc:picChg chg="add mod">
          <ac:chgData name="Mustafa Alkaya" userId="aacbf56ada369191" providerId="Windows Live" clId="Web-{1EEE6196-8AC0-4BFD-82BF-53FB0A7FDC1C}" dt="2025-02-09T17:55:17.940" v="71" actId="14100"/>
          <ac:picMkLst>
            <pc:docMk/>
            <pc:sldMk cId="343264474" sldId="362"/>
            <ac:picMk id="12" creationId="{D3CE9C6A-67E8-5403-C8A7-A586D93481B5}"/>
          </ac:picMkLst>
        </pc:picChg>
        <pc:picChg chg="add mod">
          <ac:chgData name="Mustafa Alkaya" userId="aacbf56ada369191" providerId="Windows Live" clId="Web-{1EEE6196-8AC0-4BFD-82BF-53FB0A7FDC1C}" dt="2025-02-09T17:56:00.738" v="82" actId="14100"/>
          <ac:picMkLst>
            <pc:docMk/>
            <pc:sldMk cId="343264474" sldId="362"/>
            <ac:picMk id="13" creationId="{0982D5DC-04E0-A58D-D629-87A5EE2A574C}"/>
          </ac:picMkLst>
        </pc:picChg>
      </pc:sldChg>
      <pc:sldChg chg="modSp new">
        <pc:chgData name="Mustafa Alkaya" userId="aacbf56ada369191" providerId="Windows Live" clId="Web-{1EEE6196-8AC0-4BFD-82BF-53FB0A7FDC1C}" dt="2025-02-09T17:47:31.112" v="27" actId="20577"/>
        <pc:sldMkLst>
          <pc:docMk/>
          <pc:sldMk cId="3874309064" sldId="397"/>
        </pc:sldMkLst>
      </pc:sldChg>
    </pc:docChg>
  </pc:docChgLst>
  <pc:docChgLst>
    <pc:chgData name="Agah Celebi" userId="5990b23d9d5bc4c9" providerId="Windows Live" clId="Web-{E2992645-D874-486F-9767-2AFE33B5FB08}"/>
    <pc:docChg chg="modSld sldOrd">
      <pc:chgData name="Agah Celebi" userId="5990b23d9d5bc4c9" providerId="Windows Live" clId="Web-{E2992645-D874-486F-9767-2AFE33B5FB08}" dt="2025-02-09T14:10:41.250" v="7"/>
      <pc:docMkLst>
        <pc:docMk/>
      </pc:docMkLst>
      <pc:sldChg chg="ord">
        <pc:chgData name="Agah Celebi" userId="5990b23d9d5bc4c9" providerId="Windows Live" clId="Web-{E2992645-D874-486F-9767-2AFE33B5FB08}" dt="2025-02-09T14:10:41.250" v="7"/>
        <pc:sldMkLst>
          <pc:docMk/>
          <pc:sldMk cId="3921962684" sldId="345"/>
        </pc:sldMkLst>
      </pc:sldChg>
      <pc:sldChg chg="modSp">
        <pc:chgData name="Agah Celebi" userId="5990b23d9d5bc4c9" providerId="Windows Live" clId="Web-{E2992645-D874-486F-9767-2AFE33B5FB08}" dt="2025-02-07T22:46:42.349" v="2" actId="20577"/>
        <pc:sldMkLst>
          <pc:docMk/>
          <pc:sldMk cId="2498417918" sldId="348"/>
        </pc:sldMkLst>
      </pc:sldChg>
      <pc:sldChg chg="ord">
        <pc:chgData name="Agah Celebi" userId="5990b23d9d5bc4c9" providerId="Windows Live" clId="Web-{E2992645-D874-486F-9767-2AFE33B5FB08}" dt="2025-02-09T14:09:50.687" v="3"/>
        <pc:sldMkLst>
          <pc:docMk/>
          <pc:sldMk cId="2569825678" sldId="364"/>
        </pc:sldMkLst>
      </pc:sldChg>
      <pc:sldChg chg="ord">
        <pc:chgData name="Agah Celebi" userId="5990b23d9d5bc4c9" providerId="Windows Live" clId="Web-{E2992645-D874-486F-9767-2AFE33B5FB08}" dt="2025-02-09T14:10:14" v="5"/>
        <pc:sldMkLst>
          <pc:docMk/>
          <pc:sldMk cId="2822033000" sldId="365"/>
        </pc:sldMkLst>
      </pc:sldChg>
      <pc:sldChg chg="ord">
        <pc:chgData name="Agah Celebi" userId="5990b23d9d5bc4c9" providerId="Windows Live" clId="Web-{E2992645-D874-486F-9767-2AFE33B5FB08}" dt="2025-02-09T14:10:30.047" v="6"/>
        <pc:sldMkLst>
          <pc:docMk/>
          <pc:sldMk cId="702173695" sldId="376"/>
        </pc:sldMkLst>
      </pc:sldChg>
    </pc:docChg>
  </pc:docChgLst>
  <pc:docChgLst>
    <pc:chgData name="Agah Celebi" userId="5990b23d9d5bc4c9" providerId="Windows Live" clId="Web-{75D4450E-09F1-4F8B-9E8B-3F99D6BC20C8}"/>
    <pc:docChg chg="addSld modSld sldOrd">
      <pc:chgData name="Agah Celebi" userId="5990b23d9d5bc4c9" providerId="Windows Live" clId="Web-{75D4450E-09F1-4F8B-9E8B-3F99D6BC20C8}" dt="2025-02-10T20:32:18.150" v="30" actId="20577"/>
      <pc:docMkLst>
        <pc:docMk/>
      </pc:docMkLst>
      <pc:sldChg chg="addSp delSp modSp new ord">
        <pc:chgData name="Agah Celebi" userId="5990b23d9d5bc4c9" providerId="Windows Live" clId="Web-{75D4450E-09F1-4F8B-9E8B-3F99D6BC20C8}" dt="2025-02-10T20:32:18.150" v="30" actId="20577"/>
        <pc:sldMkLst>
          <pc:docMk/>
          <pc:sldMk cId="1522033830" sldId="399"/>
        </pc:sldMkLst>
        <pc:spChg chg="mod">
          <ac:chgData name="Agah Celebi" userId="5990b23d9d5bc4c9" providerId="Windows Live" clId="Web-{75D4450E-09F1-4F8B-9E8B-3F99D6BC20C8}" dt="2025-02-10T20:28:13.876" v="7" actId="20577"/>
          <ac:spMkLst>
            <pc:docMk/>
            <pc:sldMk cId="1522033830" sldId="399"/>
            <ac:spMk id="5" creationId="{1AE39D26-173A-4ECB-ACF7-6E9B6DD366B7}"/>
          </ac:spMkLst>
        </pc:spChg>
        <pc:spChg chg="add mod">
          <ac:chgData name="Agah Celebi" userId="5990b23d9d5bc4c9" providerId="Windows Live" clId="Web-{75D4450E-09F1-4F8B-9E8B-3F99D6BC20C8}" dt="2025-02-10T20:31:31.086" v="17" actId="1076"/>
          <ac:spMkLst>
            <pc:docMk/>
            <pc:sldMk cId="1522033830" sldId="399"/>
            <ac:spMk id="8" creationId="{7E013E0E-8580-56E1-99DE-69292A4B3CB6}"/>
          </ac:spMkLst>
        </pc:spChg>
        <pc:spChg chg="add mod">
          <ac:chgData name="Agah Celebi" userId="5990b23d9d5bc4c9" providerId="Windows Live" clId="Web-{75D4450E-09F1-4F8B-9E8B-3F99D6BC20C8}" dt="2025-02-10T20:32:18.150" v="30" actId="20577"/>
          <ac:spMkLst>
            <pc:docMk/>
            <pc:sldMk cId="1522033830" sldId="399"/>
            <ac:spMk id="11" creationId="{1EE1AF33-2DEF-D138-814E-FC9D85CC9AB3}"/>
          </ac:spMkLst>
        </pc:spChg>
        <pc:picChg chg="add mod">
          <ac:chgData name="Agah Celebi" userId="5990b23d9d5bc4c9" providerId="Windows Live" clId="Web-{75D4450E-09F1-4F8B-9E8B-3F99D6BC20C8}" dt="2025-02-10T20:31:28.180" v="16" actId="1076"/>
          <ac:picMkLst>
            <pc:docMk/>
            <pc:sldMk cId="1522033830" sldId="399"/>
            <ac:picMk id="7" creationId="{6BD27D7F-F77D-5743-9345-0CBB0E852EF8}"/>
          </ac:picMkLst>
        </pc:picChg>
        <pc:picChg chg="add mod">
          <ac:chgData name="Agah Celebi" userId="5990b23d9d5bc4c9" providerId="Windows Live" clId="Web-{75D4450E-09F1-4F8B-9E8B-3F99D6BC20C8}" dt="2025-02-10T20:31:48.165" v="22" actId="1076"/>
          <ac:picMkLst>
            <pc:docMk/>
            <pc:sldMk cId="1522033830" sldId="399"/>
            <ac:picMk id="9" creationId="{732AD2A2-A640-1FE7-363E-5DD552BCD928}"/>
          </ac:picMkLst>
        </pc:picChg>
      </pc:sldChg>
    </pc:docChg>
  </pc:docChgLst>
  <pc:docChgLst>
    <pc:chgData name="Erdem Agfirat" userId="3def093e706752c9" providerId="Windows Live" clId="Web-{0279B1B9-807D-48B9-92CC-0E9DD3E6CF44}"/>
    <pc:docChg chg="modSld">
      <pc:chgData name="Erdem Agfirat" userId="3def093e706752c9" providerId="Windows Live" clId="Web-{0279B1B9-807D-48B9-92CC-0E9DD3E6CF44}" dt="2025-02-09T13:41:02.574" v="2" actId="1076"/>
      <pc:docMkLst>
        <pc:docMk/>
      </pc:docMkLst>
      <pc:sldChg chg="modSp">
        <pc:chgData name="Erdem Agfirat" userId="3def093e706752c9" providerId="Windows Live" clId="Web-{0279B1B9-807D-48B9-92CC-0E9DD3E6CF44}" dt="2025-02-09T13:41:02.574" v="2" actId="1076"/>
        <pc:sldMkLst>
          <pc:docMk/>
          <pc:sldMk cId="2440610122" sldId="385"/>
        </pc:sldMkLst>
        <pc:picChg chg="mod">
          <ac:chgData name="Erdem Agfirat" userId="3def093e706752c9" providerId="Windows Live" clId="Web-{0279B1B9-807D-48B9-92CC-0E9DD3E6CF44}" dt="2025-02-09T13:41:02.574" v="2" actId="1076"/>
          <ac:picMkLst>
            <pc:docMk/>
            <pc:sldMk cId="2440610122" sldId="385"/>
            <ac:picMk id="3" creationId="{67766AFC-C53C-C0A7-48F2-06D25CA59876}"/>
          </ac:picMkLst>
        </pc:picChg>
        <pc:picChg chg="mod">
          <ac:chgData name="Erdem Agfirat" userId="3def093e706752c9" providerId="Windows Live" clId="Web-{0279B1B9-807D-48B9-92CC-0E9DD3E6CF44}" dt="2025-02-09T13:40:35.339" v="1" actId="1076"/>
          <ac:picMkLst>
            <pc:docMk/>
            <pc:sldMk cId="2440610122" sldId="385"/>
            <ac:picMk id="7" creationId="{5FFD66FA-1110-4FEF-9140-04DD6377D700}"/>
          </ac:picMkLst>
        </pc:picChg>
      </pc:sldChg>
    </pc:docChg>
  </pc:docChgLst>
  <pc:docChgLst>
    <pc:chgData name="Erdem Agfirat" userId="3def093e706752c9" providerId="Windows Live" clId="Web-{AF8136FB-D873-4B8E-9517-60CF0E82F275}"/>
    <pc:docChg chg="addSld delSld modSld">
      <pc:chgData name="Erdem Agfirat" userId="3def093e706752c9" providerId="Windows Live" clId="Web-{AF8136FB-D873-4B8E-9517-60CF0E82F275}" dt="2025-02-03T14:49:07.525" v="25" actId="20577"/>
      <pc:docMkLst>
        <pc:docMk/>
      </pc:docMkLst>
      <pc:sldChg chg="modSp">
        <pc:chgData name="Erdem Agfirat" userId="3def093e706752c9" providerId="Windows Live" clId="Web-{AF8136FB-D873-4B8E-9517-60CF0E82F275}" dt="2025-02-03T14:32:04.781" v="8" actId="20577"/>
        <pc:sldMkLst>
          <pc:docMk/>
          <pc:sldMk cId="667530008" sldId="351"/>
        </pc:sldMkLst>
        <pc:spChg chg="mod">
          <ac:chgData name="Erdem Agfirat" userId="3def093e706752c9" providerId="Windows Live" clId="Web-{AF8136FB-D873-4B8E-9517-60CF0E82F275}" dt="2025-02-03T14:32:04.781" v="8" actId="20577"/>
          <ac:spMkLst>
            <pc:docMk/>
            <pc:sldMk cId="667530008" sldId="351"/>
            <ac:spMk id="5" creationId="{6AA12302-CCAA-1B45-DAB3-CC774EB4D13C}"/>
          </ac:spMkLst>
        </pc:spChg>
      </pc:sldChg>
      <pc:sldChg chg="modSp">
        <pc:chgData name="Erdem Agfirat" userId="3def093e706752c9" providerId="Windows Live" clId="Web-{AF8136FB-D873-4B8E-9517-60CF0E82F275}" dt="2025-02-03T14:21:34.869" v="1" actId="20577"/>
        <pc:sldMkLst>
          <pc:docMk/>
          <pc:sldMk cId="2378787593" sldId="363"/>
        </pc:sldMkLst>
        <pc:spChg chg="mod">
          <ac:chgData name="Erdem Agfirat" userId="3def093e706752c9" providerId="Windows Live" clId="Web-{AF8136FB-D873-4B8E-9517-60CF0E82F275}" dt="2025-02-03T14:21:34.869" v="1" actId="20577"/>
          <ac:spMkLst>
            <pc:docMk/>
            <pc:sldMk cId="2378787593" sldId="363"/>
            <ac:spMk id="3" creationId="{8B0B7A01-52C2-2BCA-E20C-39A0ECBC1572}"/>
          </ac:spMkLst>
        </pc:spChg>
      </pc:sldChg>
      <pc:sldChg chg="modSp">
        <pc:chgData name="Erdem Agfirat" userId="3def093e706752c9" providerId="Windows Live" clId="Web-{AF8136FB-D873-4B8E-9517-60CF0E82F275}" dt="2025-02-03T14:49:07.525" v="25" actId="20577"/>
        <pc:sldMkLst>
          <pc:docMk/>
          <pc:sldMk cId="2476380123" sldId="369"/>
        </pc:sldMkLst>
        <pc:spChg chg="mod">
          <ac:chgData name="Erdem Agfirat" userId="3def093e706752c9" providerId="Windows Live" clId="Web-{AF8136FB-D873-4B8E-9517-60CF0E82F275}" dt="2025-02-03T14:49:07.525" v="25" actId="20577"/>
          <ac:spMkLst>
            <pc:docMk/>
            <pc:sldMk cId="2476380123" sldId="369"/>
            <ac:spMk id="7" creationId="{7FC056F5-26D8-B7BF-1F4A-BEDE1A203BF5}"/>
          </ac:spMkLst>
        </pc:spChg>
      </pc:sldChg>
      <pc:sldChg chg="addSp delSp add del replId">
        <pc:chgData name="Erdem Agfirat" userId="3def093e706752c9" providerId="Windows Live" clId="Web-{AF8136FB-D873-4B8E-9517-60CF0E82F275}" dt="2025-02-03T14:22:06.214" v="6"/>
        <pc:sldMkLst>
          <pc:docMk/>
          <pc:sldMk cId="62167116" sldId="372"/>
        </pc:sldMkLst>
      </pc:sldChg>
    </pc:docChg>
  </pc:docChgLst>
  <pc:docChgLst>
    <pc:chgData name="Erdem Agfirat" userId="3def093e706752c9" providerId="Windows Live" clId="Web-{E4AFEC49-693F-482D-8AB9-CA42818CDC8C}"/>
    <pc:docChg chg="modSld">
      <pc:chgData name="Erdem Agfirat" userId="3def093e706752c9" providerId="Windows Live" clId="Web-{E4AFEC49-693F-482D-8AB9-CA42818CDC8C}" dt="2025-02-09T17:44:34.681" v="0"/>
      <pc:docMkLst>
        <pc:docMk/>
      </pc:docMkLst>
      <pc:sldChg chg="delSp">
        <pc:chgData name="Erdem Agfirat" userId="3def093e706752c9" providerId="Windows Live" clId="Web-{E4AFEC49-693F-482D-8AB9-CA42818CDC8C}" dt="2025-02-09T17:44:34.681" v="0"/>
        <pc:sldMkLst>
          <pc:docMk/>
          <pc:sldMk cId="2890405448" sldId="393"/>
        </pc:sldMkLst>
      </pc:sldChg>
    </pc:docChg>
  </pc:docChgLst>
  <pc:docChgLst>
    <pc:chgData name="Atakan B." userId="a9b0cfb5a759442c" providerId="LiveId" clId="{51A16FC7-7647-C849-B081-9D72DF93AC09}"/>
    <pc:docChg chg="undo custSel addSld delSld modSld sldOrd">
      <pc:chgData name="Atakan B." userId="a9b0cfb5a759442c" providerId="LiveId" clId="{51A16FC7-7647-C849-B081-9D72DF93AC09}" dt="2025-02-12T06:45:38.268" v="972"/>
      <pc:docMkLst>
        <pc:docMk/>
      </pc:docMkLst>
      <pc:sldChg chg="modSp mod">
        <pc:chgData name="Atakan B." userId="a9b0cfb5a759442c" providerId="LiveId" clId="{51A16FC7-7647-C849-B081-9D72DF93AC09}" dt="2025-02-11T18:42:49.976" v="902" actId="20577"/>
        <pc:sldMkLst>
          <pc:docMk/>
          <pc:sldMk cId="355304440" sldId="287"/>
        </pc:sldMkLst>
        <pc:spChg chg="mod">
          <ac:chgData name="Atakan B." userId="a9b0cfb5a759442c" providerId="LiveId" clId="{51A16FC7-7647-C849-B081-9D72DF93AC09}" dt="2025-02-11T18:42:49.976" v="902" actId="20577"/>
          <ac:spMkLst>
            <pc:docMk/>
            <pc:sldMk cId="355304440" sldId="287"/>
            <ac:spMk id="2" creationId="{8D4FEE8B-AA45-15CF-3052-9C4207BE91EA}"/>
          </ac:spMkLst>
        </pc:spChg>
      </pc:sldChg>
      <pc:sldChg chg="modSp mod">
        <pc:chgData name="Atakan B." userId="a9b0cfb5a759442c" providerId="LiveId" clId="{51A16FC7-7647-C849-B081-9D72DF93AC09}" dt="2025-02-11T18:42:42.567" v="895" actId="20577"/>
        <pc:sldMkLst>
          <pc:docMk/>
          <pc:sldMk cId="754678105" sldId="292"/>
        </pc:sldMkLst>
        <pc:spChg chg="mod">
          <ac:chgData name="Atakan B." userId="a9b0cfb5a759442c" providerId="LiveId" clId="{51A16FC7-7647-C849-B081-9D72DF93AC09}" dt="2025-02-11T18:42:42.567" v="895" actId="20577"/>
          <ac:spMkLst>
            <pc:docMk/>
            <pc:sldMk cId="754678105" sldId="292"/>
            <ac:spMk id="5" creationId="{4FE46880-0DC7-E404-79E6-5BB20DAD96C3}"/>
          </ac:spMkLst>
        </pc:spChg>
      </pc:sldChg>
      <pc:sldChg chg="delSp modSp del mod ord">
        <pc:chgData name="Atakan B." userId="a9b0cfb5a759442c" providerId="LiveId" clId="{51A16FC7-7647-C849-B081-9D72DF93AC09}" dt="2025-02-09T19:52:28.173" v="758" actId="2696"/>
        <pc:sldMkLst>
          <pc:docMk/>
          <pc:sldMk cId="17479474" sldId="332"/>
        </pc:sldMkLst>
      </pc:sldChg>
      <pc:sldChg chg="modSp del mod ord">
        <pc:chgData name="Atakan B." userId="a9b0cfb5a759442c" providerId="LiveId" clId="{51A16FC7-7647-C849-B081-9D72DF93AC09}" dt="2025-02-11T16:40:45.943" v="838" actId="2696"/>
        <pc:sldMkLst>
          <pc:docMk/>
          <pc:sldMk cId="3547345336" sldId="333"/>
        </pc:sldMkLst>
      </pc:sldChg>
      <pc:sldChg chg="addSp delSp modSp mod ord modClrScheme chgLayout modNotesTx">
        <pc:chgData name="Atakan B." userId="a9b0cfb5a759442c" providerId="LiveId" clId="{51A16FC7-7647-C849-B081-9D72DF93AC09}" dt="2025-02-11T16:56:33.695" v="888" actId="1076"/>
        <pc:sldMkLst>
          <pc:docMk/>
          <pc:sldMk cId="1198200963" sldId="335"/>
        </pc:sldMkLst>
        <pc:spChg chg="mod">
          <ac:chgData name="Atakan B." userId="a9b0cfb5a759442c" providerId="LiveId" clId="{51A16FC7-7647-C849-B081-9D72DF93AC09}" dt="2025-02-06T10:43:43.288" v="27" actId="26606"/>
          <ac:spMkLst>
            <pc:docMk/>
            <pc:sldMk cId="1198200963" sldId="335"/>
            <ac:spMk id="2" creationId="{93571655-BB24-9BA1-815A-E236817D3273}"/>
          </ac:spMkLst>
        </pc:spChg>
        <pc:spChg chg="mod">
          <ac:chgData name="Atakan B." userId="a9b0cfb5a759442c" providerId="LiveId" clId="{51A16FC7-7647-C849-B081-9D72DF93AC09}" dt="2025-02-06T10:43:43.288" v="27" actId="26606"/>
          <ac:spMkLst>
            <pc:docMk/>
            <pc:sldMk cId="1198200963" sldId="335"/>
            <ac:spMk id="3" creationId="{9C4628C2-E838-9E94-6845-203BEE45E44A}"/>
          </ac:spMkLst>
        </pc:spChg>
        <pc:spChg chg="mod">
          <ac:chgData name="Atakan B." userId="a9b0cfb5a759442c" providerId="LiveId" clId="{51A16FC7-7647-C849-B081-9D72DF93AC09}" dt="2025-02-06T10:43:43.288" v="27" actId="26606"/>
          <ac:spMkLst>
            <pc:docMk/>
            <pc:sldMk cId="1198200963" sldId="335"/>
            <ac:spMk id="4" creationId="{D5AD22FD-C3A0-237E-22A2-2901C853CF22}"/>
          </ac:spMkLst>
        </pc:spChg>
        <pc:spChg chg="mod ord">
          <ac:chgData name="Atakan B." userId="a9b0cfb5a759442c" providerId="LiveId" clId="{51A16FC7-7647-C849-B081-9D72DF93AC09}" dt="2025-02-11T16:41:02.458" v="855" actId="20577"/>
          <ac:spMkLst>
            <pc:docMk/>
            <pc:sldMk cId="1198200963" sldId="335"/>
            <ac:spMk id="5" creationId="{062B81C2-EC8B-B2E9-B8FB-81F4DF7E5865}"/>
          </ac:spMkLst>
        </pc:spChg>
        <pc:spChg chg="add mod">
          <ac:chgData name="Atakan B." userId="a9b0cfb5a759442c" providerId="LiveId" clId="{51A16FC7-7647-C849-B081-9D72DF93AC09}" dt="2025-02-11T16:55:15.496" v="887" actId="15"/>
          <ac:spMkLst>
            <pc:docMk/>
            <pc:sldMk cId="1198200963" sldId="335"/>
            <ac:spMk id="17" creationId="{1F717144-F1CA-80F1-CE3A-FA3CA4E5D0D0}"/>
          </ac:spMkLst>
        </pc:spChg>
        <pc:picChg chg="add mod">
          <ac:chgData name="Atakan B." userId="a9b0cfb5a759442c" providerId="LiveId" clId="{51A16FC7-7647-C849-B081-9D72DF93AC09}" dt="2025-02-11T16:56:33.695" v="888" actId="1076"/>
          <ac:picMkLst>
            <pc:docMk/>
            <pc:sldMk cId="1198200963" sldId="335"/>
            <ac:picMk id="14" creationId="{82156293-E611-DD7D-C309-5FC67F85BC52}"/>
          </ac:picMkLst>
        </pc:picChg>
      </pc:sldChg>
      <pc:sldChg chg="del">
        <pc:chgData name="Atakan B." userId="a9b0cfb5a759442c" providerId="LiveId" clId="{51A16FC7-7647-C849-B081-9D72DF93AC09}" dt="2025-02-06T12:54:50.827" v="47" actId="2696"/>
        <pc:sldMkLst>
          <pc:docMk/>
          <pc:sldMk cId="2912856190" sldId="340"/>
        </pc:sldMkLst>
      </pc:sldChg>
      <pc:sldChg chg="modSp mod">
        <pc:chgData name="Atakan B." userId="a9b0cfb5a759442c" providerId="LiveId" clId="{51A16FC7-7647-C849-B081-9D72DF93AC09}" dt="2025-02-11T20:35:49.179" v="969" actId="20577"/>
        <pc:sldMkLst>
          <pc:docMk/>
          <pc:sldMk cId="2095473313" sldId="347"/>
        </pc:sldMkLst>
        <pc:spChg chg="mod">
          <ac:chgData name="Atakan B." userId="a9b0cfb5a759442c" providerId="LiveId" clId="{51A16FC7-7647-C849-B081-9D72DF93AC09}" dt="2025-02-11T20:35:49.179" v="969" actId="20577"/>
          <ac:spMkLst>
            <pc:docMk/>
            <pc:sldMk cId="2095473313" sldId="347"/>
            <ac:spMk id="5" creationId="{4D5E584D-131E-5317-4A88-CE8CA299EF0F}"/>
          </ac:spMkLst>
        </pc:spChg>
      </pc:sldChg>
      <pc:sldChg chg="addSp delSp modSp mod">
        <pc:chgData name="Atakan B." userId="a9b0cfb5a759442c" providerId="LiveId" clId="{51A16FC7-7647-C849-B081-9D72DF93AC09}" dt="2025-02-02T14:10:28.787" v="16"/>
        <pc:sldMkLst>
          <pc:docMk/>
          <pc:sldMk cId="731658482" sldId="352"/>
        </pc:sldMkLst>
      </pc:sldChg>
      <pc:sldChg chg="addSp delSp modSp mod">
        <pc:chgData name="Atakan B." userId="a9b0cfb5a759442c" providerId="LiveId" clId="{51A16FC7-7647-C849-B081-9D72DF93AC09}" dt="2025-02-06T17:05:24.555" v="173" actId="1076"/>
        <pc:sldMkLst>
          <pc:docMk/>
          <pc:sldMk cId="2899606391" sldId="356"/>
        </pc:sldMkLst>
      </pc:sldChg>
      <pc:sldChg chg="addSp delSp modSp mod">
        <pc:chgData name="Atakan B." userId="a9b0cfb5a759442c" providerId="LiveId" clId="{51A16FC7-7647-C849-B081-9D72DF93AC09}" dt="2025-02-02T14:10:17.828" v="12"/>
        <pc:sldMkLst>
          <pc:docMk/>
          <pc:sldMk cId="2088111408" sldId="357"/>
        </pc:sldMkLst>
      </pc:sldChg>
      <pc:sldChg chg="addSp delSp modSp mod">
        <pc:chgData name="Atakan B." userId="a9b0cfb5a759442c" providerId="LiveId" clId="{51A16FC7-7647-C849-B081-9D72DF93AC09}" dt="2025-02-02T14:10:09.057" v="10"/>
        <pc:sldMkLst>
          <pc:docMk/>
          <pc:sldMk cId="1213190179" sldId="358"/>
        </pc:sldMkLst>
      </pc:sldChg>
      <pc:sldChg chg="addSp delSp modSp mod">
        <pc:chgData name="Atakan B." userId="a9b0cfb5a759442c" providerId="LiveId" clId="{51A16FC7-7647-C849-B081-9D72DF93AC09}" dt="2025-02-02T14:10:35.684" v="18"/>
        <pc:sldMkLst>
          <pc:docMk/>
          <pc:sldMk cId="3736741865" sldId="361"/>
        </pc:sldMkLst>
        <pc:spChg chg="add mod">
          <ac:chgData name="Atakan B." userId="a9b0cfb5a759442c" providerId="LiveId" clId="{51A16FC7-7647-C849-B081-9D72DF93AC09}" dt="2025-02-02T14:10:35.684" v="18"/>
          <ac:spMkLst>
            <pc:docMk/>
            <pc:sldMk cId="3736741865" sldId="361"/>
            <ac:spMk id="8" creationId="{5B1DE576-3020-6BE1-9EA8-08D13D4FF77B}"/>
          </ac:spMkLst>
        </pc:spChg>
      </pc:sldChg>
      <pc:sldChg chg="addSp delSp modSp mod">
        <pc:chgData name="Atakan B." userId="a9b0cfb5a759442c" providerId="LiveId" clId="{51A16FC7-7647-C849-B081-9D72DF93AC09}" dt="2025-02-11T18:48:20.444" v="934"/>
        <pc:sldMkLst>
          <pc:docMk/>
          <pc:sldMk cId="2569825678" sldId="364"/>
        </pc:sldMkLst>
        <pc:spChg chg="add mod">
          <ac:chgData name="Atakan B." userId="a9b0cfb5a759442c" providerId="LiveId" clId="{51A16FC7-7647-C849-B081-9D72DF93AC09}" dt="2025-02-11T18:48:20.444" v="934"/>
          <ac:spMkLst>
            <pc:docMk/>
            <pc:sldMk cId="2569825678" sldId="364"/>
            <ac:spMk id="7" creationId="{B4706FC1-0F3A-6606-0242-51B83EEABBBC}"/>
          </ac:spMkLst>
        </pc:spChg>
      </pc:sldChg>
      <pc:sldChg chg="addSp delSp modSp mod">
        <pc:chgData name="Atakan B." userId="a9b0cfb5a759442c" providerId="LiveId" clId="{51A16FC7-7647-C849-B081-9D72DF93AC09}" dt="2025-02-11T18:48:15.734" v="932"/>
        <pc:sldMkLst>
          <pc:docMk/>
          <pc:sldMk cId="2822033000" sldId="365"/>
        </pc:sldMkLst>
        <pc:spChg chg="add mod">
          <ac:chgData name="Atakan B." userId="a9b0cfb5a759442c" providerId="LiveId" clId="{51A16FC7-7647-C849-B081-9D72DF93AC09}" dt="2025-02-11T18:48:15.734" v="932"/>
          <ac:spMkLst>
            <pc:docMk/>
            <pc:sldMk cId="2822033000" sldId="365"/>
            <ac:spMk id="8" creationId="{03C07CDC-5389-2486-56D8-B7452EDEB99A}"/>
          </ac:spMkLst>
        </pc:spChg>
      </pc:sldChg>
      <pc:sldChg chg="addSp delSp modSp new del mod modClrScheme chgLayout">
        <pc:chgData name="Atakan B." userId="a9b0cfb5a759442c" providerId="LiveId" clId="{51A16FC7-7647-C849-B081-9D72DF93AC09}" dt="2025-02-07T12:33:09.561" v="219" actId="2696"/>
        <pc:sldMkLst>
          <pc:docMk/>
          <pc:sldMk cId="1850880213" sldId="378"/>
        </pc:sldMkLst>
      </pc:sldChg>
      <pc:sldChg chg="modSp new del mod">
        <pc:chgData name="Atakan B." userId="a9b0cfb5a759442c" providerId="LiveId" clId="{51A16FC7-7647-C849-B081-9D72DF93AC09}" dt="2025-02-06T17:52:55.487" v="175" actId="2696"/>
        <pc:sldMkLst>
          <pc:docMk/>
          <pc:sldMk cId="3934942877" sldId="379"/>
        </pc:sldMkLst>
      </pc:sldChg>
      <pc:sldChg chg="modSp new del mod">
        <pc:chgData name="Atakan B." userId="a9b0cfb5a759442c" providerId="LiveId" clId="{51A16FC7-7647-C849-B081-9D72DF93AC09}" dt="2025-02-06T17:52:50.455" v="174" actId="2696"/>
        <pc:sldMkLst>
          <pc:docMk/>
          <pc:sldMk cId="1150246481" sldId="380"/>
        </pc:sldMkLst>
      </pc:sldChg>
      <pc:sldChg chg="modSp new del mod ord">
        <pc:chgData name="Atakan B." userId="a9b0cfb5a759442c" providerId="LiveId" clId="{51A16FC7-7647-C849-B081-9D72DF93AC09}" dt="2025-02-06T17:53:01.235" v="176" actId="2696"/>
        <pc:sldMkLst>
          <pc:docMk/>
          <pc:sldMk cId="433359431" sldId="381"/>
        </pc:sldMkLst>
      </pc:sldChg>
      <pc:sldChg chg="addSp delSp modSp add mod modClrScheme chgLayout">
        <pc:chgData name="Atakan B." userId="a9b0cfb5a759442c" providerId="LiveId" clId="{51A16FC7-7647-C849-B081-9D72DF93AC09}" dt="2025-02-11T16:54:23.689" v="873" actId="12"/>
        <pc:sldMkLst>
          <pc:docMk/>
          <pc:sldMk cId="781602771" sldId="386"/>
        </pc:sldMkLst>
        <pc:spChg chg="mod">
          <ac:chgData name="Atakan B." userId="a9b0cfb5a759442c" providerId="LiveId" clId="{51A16FC7-7647-C849-B081-9D72DF93AC09}" dt="2025-02-07T13:48:54.164" v="224" actId="26606"/>
          <ac:spMkLst>
            <pc:docMk/>
            <pc:sldMk cId="781602771" sldId="386"/>
            <ac:spMk id="3" creationId="{99408348-9B23-4B88-9832-A2A6785B25B4}"/>
          </ac:spMkLst>
        </pc:spChg>
        <pc:spChg chg="mod">
          <ac:chgData name="Atakan B." userId="a9b0cfb5a759442c" providerId="LiveId" clId="{51A16FC7-7647-C849-B081-9D72DF93AC09}" dt="2025-02-07T13:48:54.164" v="224" actId="26606"/>
          <ac:spMkLst>
            <pc:docMk/>
            <pc:sldMk cId="781602771" sldId="386"/>
            <ac:spMk id="5" creationId="{776CDFD4-E24E-A52C-DB60-964A9C9437CC}"/>
          </ac:spMkLst>
        </pc:spChg>
        <pc:spChg chg="add mod">
          <ac:chgData name="Atakan B." userId="a9b0cfb5a759442c" providerId="LiveId" clId="{51A16FC7-7647-C849-B081-9D72DF93AC09}" dt="2025-02-09T12:54:49.507" v="661"/>
          <ac:spMkLst>
            <pc:docMk/>
            <pc:sldMk cId="781602771" sldId="386"/>
            <ac:spMk id="7" creationId="{5AF16DBF-CE3A-6BBE-A91D-C7DF3E154C4D}"/>
          </ac:spMkLst>
        </pc:spChg>
        <pc:spChg chg="mod ord">
          <ac:chgData name="Atakan B." userId="a9b0cfb5a759442c" providerId="LiveId" clId="{51A16FC7-7647-C849-B081-9D72DF93AC09}" dt="2025-02-07T13:48:54.164" v="224" actId="26606"/>
          <ac:spMkLst>
            <pc:docMk/>
            <pc:sldMk cId="781602771" sldId="386"/>
            <ac:spMk id="12" creationId="{7FF88EF5-49C9-4D5F-C0A0-B598AE14A1AB}"/>
          </ac:spMkLst>
        </pc:spChg>
        <pc:spChg chg="add mod">
          <ac:chgData name="Atakan B." userId="a9b0cfb5a759442c" providerId="LiveId" clId="{51A16FC7-7647-C849-B081-9D72DF93AC09}" dt="2025-02-11T16:54:23.689" v="873" actId="12"/>
          <ac:spMkLst>
            <pc:docMk/>
            <pc:sldMk cId="781602771" sldId="386"/>
            <ac:spMk id="16" creationId="{07FF60A5-2AB4-31CA-BDD4-545107C2DFE0}"/>
          </ac:spMkLst>
        </pc:spChg>
        <pc:picChg chg="add mod">
          <ac:chgData name="Atakan B." userId="a9b0cfb5a759442c" providerId="LiveId" clId="{51A16FC7-7647-C849-B081-9D72DF93AC09}" dt="2025-02-07T13:48:54.164" v="224" actId="26606"/>
          <ac:picMkLst>
            <pc:docMk/>
            <pc:sldMk cId="781602771" sldId="386"/>
            <ac:picMk id="6" creationId="{08D56242-A896-B031-9446-5240A36FECEF}"/>
          </ac:picMkLst>
        </pc:picChg>
      </pc:sldChg>
      <pc:sldChg chg="addSp delSp modSp add mod ord">
        <pc:chgData name="Atakan B." userId="a9b0cfb5a759442c" providerId="LiveId" clId="{51A16FC7-7647-C849-B081-9D72DF93AC09}" dt="2025-02-12T06:45:38.268" v="972"/>
        <pc:sldMkLst>
          <pc:docMk/>
          <pc:sldMk cId="755237178" sldId="388"/>
        </pc:sldMkLst>
        <pc:spChg chg="mod">
          <ac:chgData name="Atakan B." userId="a9b0cfb5a759442c" providerId="LiveId" clId="{51A16FC7-7647-C849-B081-9D72DF93AC09}" dt="2025-02-07T16:19:57.915" v="267" actId="20577"/>
          <ac:spMkLst>
            <pc:docMk/>
            <pc:sldMk cId="755237178" sldId="388"/>
            <ac:spMk id="5" creationId="{824456D1-6DF7-52CD-3B2A-2019F17EFDCE}"/>
          </ac:spMkLst>
        </pc:spChg>
        <pc:spChg chg="mod">
          <ac:chgData name="Atakan B." userId="a9b0cfb5a759442c" providerId="LiveId" clId="{51A16FC7-7647-C849-B081-9D72DF93AC09}" dt="2025-02-11T16:54:09.978" v="872" actId="12"/>
          <ac:spMkLst>
            <pc:docMk/>
            <pc:sldMk cId="755237178" sldId="388"/>
            <ac:spMk id="12" creationId="{E35AC7C1-92E0-E0E4-B759-FC8E9A538703}"/>
          </ac:spMkLst>
        </pc:spChg>
        <pc:picChg chg="add mod">
          <ac:chgData name="Atakan B." userId="a9b0cfb5a759442c" providerId="LiveId" clId="{51A16FC7-7647-C849-B081-9D72DF93AC09}" dt="2025-02-07T12:32:48.454" v="217" actId="1076"/>
          <ac:picMkLst>
            <pc:docMk/>
            <pc:sldMk cId="755237178" sldId="388"/>
            <ac:picMk id="6" creationId="{DE8AF678-B473-1D7C-FD88-CAC0C0558EF4}"/>
          </ac:picMkLst>
        </pc:picChg>
      </pc:sldChg>
      <pc:sldChg chg="modSp mod">
        <pc:chgData name="Atakan B." userId="a9b0cfb5a759442c" providerId="LiveId" clId="{51A16FC7-7647-C849-B081-9D72DF93AC09}" dt="2025-02-11T19:19:07.213" v="961" actId="20577"/>
        <pc:sldMkLst>
          <pc:docMk/>
          <pc:sldMk cId="1150651287" sldId="389"/>
        </pc:sldMkLst>
        <pc:spChg chg="mod">
          <ac:chgData name="Atakan B." userId="a9b0cfb5a759442c" providerId="LiveId" clId="{51A16FC7-7647-C849-B081-9D72DF93AC09}" dt="2025-02-11T19:19:07.213" v="961" actId="20577"/>
          <ac:spMkLst>
            <pc:docMk/>
            <pc:sldMk cId="1150651287" sldId="389"/>
            <ac:spMk id="5" creationId="{A4F666A0-111C-11DE-1A4C-8E77498305DF}"/>
          </ac:spMkLst>
        </pc:spChg>
      </pc:sldChg>
      <pc:sldChg chg="addSp delSp modSp new mod modNotesTx">
        <pc:chgData name="Atakan B." userId="a9b0cfb5a759442c" providerId="LiveId" clId="{51A16FC7-7647-C849-B081-9D72DF93AC09}" dt="2025-02-09T19:52:09.790" v="757"/>
        <pc:sldMkLst>
          <pc:docMk/>
          <pc:sldMk cId="1451528748" sldId="395"/>
        </pc:sldMkLst>
        <pc:spChg chg="mod">
          <ac:chgData name="Atakan B." userId="a9b0cfb5a759442c" providerId="LiveId" clId="{51A16FC7-7647-C849-B081-9D72DF93AC09}" dt="2025-02-09T11:38:56.227" v="658" actId="20577"/>
          <ac:spMkLst>
            <pc:docMk/>
            <pc:sldMk cId="1451528748" sldId="395"/>
            <ac:spMk id="2" creationId="{9D7CDE01-FD0C-4906-AA36-A7ACA27BC1B8}"/>
          </ac:spMkLst>
        </pc:spChg>
        <pc:spChg chg="mod">
          <ac:chgData name="Atakan B." userId="a9b0cfb5a759442c" providerId="LiveId" clId="{51A16FC7-7647-C849-B081-9D72DF93AC09}" dt="2025-02-09T19:49:30.670" v="741" actId="1076"/>
          <ac:spMkLst>
            <pc:docMk/>
            <pc:sldMk cId="1451528748" sldId="395"/>
            <ac:spMk id="7" creationId="{BA48B3B3-8608-03E1-AD9A-3CE4DD059349}"/>
          </ac:spMkLst>
        </pc:spChg>
        <pc:spChg chg="add mod">
          <ac:chgData name="Atakan B." userId="a9b0cfb5a759442c" providerId="LiveId" clId="{51A16FC7-7647-C849-B081-9D72DF93AC09}" dt="2025-02-09T19:48:39.904" v="734" actId="20577"/>
          <ac:spMkLst>
            <pc:docMk/>
            <pc:sldMk cId="1451528748" sldId="395"/>
            <ac:spMk id="8" creationId="{2DC1EAF8-9FE1-F9C4-FD7A-3C8433457905}"/>
          </ac:spMkLst>
        </pc:spChg>
        <pc:spChg chg="add mod">
          <ac:chgData name="Atakan B." userId="a9b0cfb5a759442c" providerId="LiveId" clId="{51A16FC7-7647-C849-B081-9D72DF93AC09}" dt="2025-02-09T19:50:27.069" v="756" actId="1076"/>
          <ac:spMkLst>
            <pc:docMk/>
            <pc:sldMk cId="1451528748" sldId="395"/>
            <ac:spMk id="15" creationId="{3846C238-F3A9-D66C-A951-9B02FF7A23A4}"/>
          </ac:spMkLst>
        </pc:spChg>
        <pc:picChg chg="add mod">
          <ac:chgData name="Atakan B." userId="a9b0cfb5a759442c" providerId="LiveId" clId="{51A16FC7-7647-C849-B081-9D72DF93AC09}" dt="2025-02-09T19:50:21.206" v="755" actId="1076"/>
          <ac:picMkLst>
            <pc:docMk/>
            <pc:sldMk cId="1451528748" sldId="395"/>
            <ac:picMk id="16" creationId="{A86E503C-9FC4-89FA-EC98-59FB9BC6CED7}"/>
          </ac:picMkLst>
        </pc:picChg>
      </pc:sldChg>
      <pc:sldChg chg="addSp delSp modSp mod">
        <pc:chgData name="Atakan B." userId="a9b0cfb5a759442c" providerId="LiveId" clId="{51A16FC7-7647-C849-B081-9D72DF93AC09}" dt="2025-02-11T18:47:42.926" v="930"/>
        <pc:sldMkLst>
          <pc:docMk/>
          <pc:sldMk cId="1217027087" sldId="404"/>
        </pc:sldMkLst>
        <pc:spChg chg="add mod">
          <ac:chgData name="Atakan B." userId="a9b0cfb5a759442c" providerId="LiveId" clId="{51A16FC7-7647-C849-B081-9D72DF93AC09}" dt="2025-02-11T18:47:42.926" v="930"/>
          <ac:spMkLst>
            <pc:docMk/>
            <pc:sldMk cId="1217027087" sldId="404"/>
            <ac:spMk id="8" creationId="{D9B2CD79-B8F7-4A72-7672-B90575F2788D}"/>
          </ac:spMkLst>
        </pc:spChg>
      </pc:sldChg>
      <pc:sldChg chg="addSp delSp modSp mod">
        <pc:chgData name="Atakan B." userId="a9b0cfb5a759442c" providerId="LiveId" clId="{51A16FC7-7647-C849-B081-9D72DF93AC09}" dt="2025-02-11T18:47:36.166" v="928"/>
        <pc:sldMkLst>
          <pc:docMk/>
          <pc:sldMk cId="2207425498" sldId="405"/>
        </pc:sldMkLst>
        <pc:spChg chg="add mod">
          <ac:chgData name="Atakan B." userId="a9b0cfb5a759442c" providerId="LiveId" clId="{51A16FC7-7647-C849-B081-9D72DF93AC09}" dt="2025-02-11T18:47:36.166" v="928"/>
          <ac:spMkLst>
            <pc:docMk/>
            <pc:sldMk cId="2207425498" sldId="405"/>
            <ac:spMk id="6" creationId="{F8AD44A9-2D85-5ABA-A7B6-741DBD570348}"/>
          </ac:spMkLst>
        </pc:spChg>
        <pc:spChg chg="mod">
          <ac:chgData name="Atakan B." userId="a9b0cfb5a759442c" providerId="LiveId" clId="{51A16FC7-7647-C849-B081-9D72DF93AC09}" dt="2025-02-11T18:47:33.900" v="926" actId="20577"/>
          <ac:spMkLst>
            <pc:docMk/>
            <pc:sldMk cId="2207425498" sldId="405"/>
            <ac:spMk id="12" creationId="{4A252C60-1134-456B-F694-833971732CC2}"/>
          </ac:spMkLst>
        </pc:spChg>
      </pc:sldChg>
      <pc:sldChg chg="addSp delSp modSp mod">
        <pc:chgData name="Atakan B." userId="a9b0cfb5a759442c" providerId="LiveId" clId="{51A16FC7-7647-C849-B081-9D72DF93AC09}" dt="2025-02-11T18:47:08.119" v="918"/>
        <pc:sldMkLst>
          <pc:docMk/>
          <pc:sldMk cId="2037074328" sldId="406"/>
        </pc:sldMkLst>
        <pc:spChg chg="add mod">
          <ac:chgData name="Atakan B." userId="a9b0cfb5a759442c" providerId="LiveId" clId="{51A16FC7-7647-C849-B081-9D72DF93AC09}" dt="2025-02-11T18:47:08.119" v="918"/>
          <ac:spMkLst>
            <pc:docMk/>
            <pc:sldMk cId="2037074328" sldId="406"/>
            <ac:spMk id="8" creationId="{7DAAE940-FD45-1AF4-7EF8-CB5555C45FBE}"/>
          </ac:spMkLst>
        </pc:spChg>
      </pc:sldChg>
      <pc:sldChg chg="addSp delSp modSp mod">
        <pc:chgData name="Atakan B." userId="a9b0cfb5a759442c" providerId="LiveId" clId="{51A16FC7-7647-C849-B081-9D72DF93AC09}" dt="2025-02-11T18:47:27.063" v="924"/>
        <pc:sldMkLst>
          <pc:docMk/>
          <pc:sldMk cId="2172842821" sldId="407"/>
        </pc:sldMkLst>
        <pc:spChg chg="add mod">
          <ac:chgData name="Atakan B." userId="a9b0cfb5a759442c" providerId="LiveId" clId="{51A16FC7-7647-C849-B081-9D72DF93AC09}" dt="2025-02-11T18:47:27.063" v="924"/>
          <ac:spMkLst>
            <pc:docMk/>
            <pc:sldMk cId="2172842821" sldId="407"/>
            <ac:spMk id="8" creationId="{B330A151-A7FE-1FC2-A24C-322D98145004}"/>
          </ac:spMkLst>
        </pc:spChg>
        <pc:spChg chg="mod">
          <ac:chgData name="Atakan B." userId="a9b0cfb5a759442c" providerId="LiveId" clId="{51A16FC7-7647-C849-B081-9D72DF93AC09}" dt="2025-02-11T18:47:18.273" v="922" actId="20577"/>
          <ac:spMkLst>
            <pc:docMk/>
            <pc:sldMk cId="2172842821" sldId="407"/>
            <ac:spMk id="12" creationId="{68AFB897-53EF-BD7A-5B86-5BBA7DDB4DFE}"/>
          </ac:spMkLst>
        </pc:spChg>
      </pc:sldChg>
      <pc:sldChg chg="ord">
        <pc:chgData name="Atakan B." userId="a9b0cfb5a759442c" providerId="LiveId" clId="{51A16FC7-7647-C849-B081-9D72DF93AC09}" dt="2025-02-11T16:40:26.833" v="837" actId="20578"/>
        <pc:sldMkLst>
          <pc:docMk/>
          <pc:sldMk cId="1868753662" sldId="408"/>
        </pc:sldMkLst>
      </pc:sldChg>
      <pc:sldChg chg="addSp delSp modSp mod">
        <pc:chgData name="Atakan B." userId="a9b0cfb5a759442c" providerId="LiveId" clId="{51A16FC7-7647-C849-B081-9D72DF93AC09}" dt="2025-02-11T18:46:54.541" v="916"/>
        <pc:sldMkLst>
          <pc:docMk/>
          <pc:sldMk cId="4167808875" sldId="410"/>
        </pc:sldMkLst>
        <pc:spChg chg="add mod">
          <ac:chgData name="Atakan B." userId="a9b0cfb5a759442c" providerId="LiveId" clId="{51A16FC7-7647-C849-B081-9D72DF93AC09}" dt="2025-02-11T18:46:54.541" v="916"/>
          <ac:spMkLst>
            <pc:docMk/>
            <pc:sldMk cId="4167808875" sldId="410"/>
            <ac:spMk id="6" creationId="{3EFDCC53-9304-20ED-9843-C09B9A277839}"/>
          </ac:spMkLst>
        </pc:spChg>
      </pc:sldChg>
      <pc:sldChg chg="addSp delSp modSp mod">
        <pc:chgData name="Atakan B." userId="a9b0cfb5a759442c" providerId="LiveId" clId="{51A16FC7-7647-C849-B081-9D72DF93AC09}" dt="2025-02-11T18:46:49.496" v="914"/>
        <pc:sldMkLst>
          <pc:docMk/>
          <pc:sldMk cId="2123264252" sldId="411"/>
        </pc:sldMkLst>
        <pc:spChg chg="add mod">
          <ac:chgData name="Atakan B." userId="a9b0cfb5a759442c" providerId="LiveId" clId="{51A16FC7-7647-C849-B081-9D72DF93AC09}" dt="2025-02-11T18:46:49.496" v="914"/>
          <ac:spMkLst>
            <pc:docMk/>
            <pc:sldMk cId="2123264252" sldId="411"/>
            <ac:spMk id="6" creationId="{87A8ACAA-9342-51B1-3E25-77A0189E4F7C}"/>
          </ac:spMkLst>
        </pc:spChg>
      </pc:sldChg>
      <pc:sldChg chg="addSp delSp modSp mod">
        <pc:chgData name="Atakan B." userId="a9b0cfb5a759442c" providerId="LiveId" clId="{51A16FC7-7647-C849-B081-9D72DF93AC09}" dt="2025-02-11T18:46:44.188" v="912"/>
        <pc:sldMkLst>
          <pc:docMk/>
          <pc:sldMk cId="673551181" sldId="412"/>
        </pc:sldMkLst>
        <pc:spChg chg="add mod">
          <ac:chgData name="Atakan B." userId="a9b0cfb5a759442c" providerId="LiveId" clId="{51A16FC7-7647-C849-B081-9D72DF93AC09}" dt="2025-02-11T18:46:44.188" v="912"/>
          <ac:spMkLst>
            <pc:docMk/>
            <pc:sldMk cId="673551181" sldId="412"/>
            <ac:spMk id="9" creationId="{85023300-E154-D397-4675-E1F3C67D1C9D}"/>
          </ac:spMkLst>
        </pc:spChg>
      </pc:sldChg>
      <pc:sldChg chg="addSp delSp modSp mod">
        <pc:chgData name="Atakan B." userId="a9b0cfb5a759442c" providerId="LiveId" clId="{51A16FC7-7647-C849-B081-9D72DF93AC09}" dt="2025-02-11T18:46:39.962" v="910"/>
        <pc:sldMkLst>
          <pc:docMk/>
          <pc:sldMk cId="2311508125" sldId="413"/>
        </pc:sldMkLst>
        <pc:spChg chg="add mod">
          <ac:chgData name="Atakan B." userId="a9b0cfb5a759442c" providerId="LiveId" clId="{51A16FC7-7647-C849-B081-9D72DF93AC09}" dt="2025-02-11T18:46:39.962" v="910"/>
          <ac:spMkLst>
            <pc:docMk/>
            <pc:sldMk cId="2311508125" sldId="413"/>
            <ac:spMk id="8" creationId="{3AD290B6-7709-01E5-7A02-8AC55FC3884A}"/>
          </ac:spMkLst>
        </pc:spChg>
      </pc:sldChg>
      <pc:sldChg chg="addSp delSp modSp mod">
        <pc:chgData name="Atakan B." userId="a9b0cfb5a759442c" providerId="LiveId" clId="{51A16FC7-7647-C849-B081-9D72DF93AC09}" dt="2025-02-11T18:46:34.757" v="908"/>
        <pc:sldMkLst>
          <pc:docMk/>
          <pc:sldMk cId="1054140315" sldId="414"/>
        </pc:sldMkLst>
        <pc:spChg chg="add mod">
          <ac:chgData name="Atakan B." userId="a9b0cfb5a759442c" providerId="LiveId" clId="{51A16FC7-7647-C849-B081-9D72DF93AC09}" dt="2025-02-11T18:46:34.757" v="908"/>
          <ac:spMkLst>
            <pc:docMk/>
            <pc:sldMk cId="1054140315" sldId="414"/>
            <ac:spMk id="10" creationId="{B789B264-C409-AC27-49BD-C92AC4A05F2C}"/>
          </ac:spMkLst>
        </pc:spChg>
      </pc:sldChg>
      <pc:sldChg chg="addSp delSp modSp mod">
        <pc:chgData name="Atakan B." userId="a9b0cfb5a759442c" providerId="LiveId" clId="{51A16FC7-7647-C849-B081-9D72DF93AC09}" dt="2025-02-11T18:46:22.213" v="904"/>
        <pc:sldMkLst>
          <pc:docMk/>
          <pc:sldMk cId="2257970813" sldId="415"/>
        </pc:sldMkLst>
        <pc:spChg chg="add mod">
          <ac:chgData name="Atakan B." userId="a9b0cfb5a759442c" providerId="LiveId" clId="{51A16FC7-7647-C849-B081-9D72DF93AC09}" dt="2025-02-11T18:46:22.213" v="904"/>
          <ac:spMkLst>
            <pc:docMk/>
            <pc:sldMk cId="2257970813" sldId="415"/>
            <ac:spMk id="6" creationId="{4A66B42A-B647-55A5-642B-2D0C3C92A312}"/>
          </ac:spMkLst>
        </pc:spChg>
      </pc:sldChg>
      <pc:sldChg chg="addSp delSp modSp mod">
        <pc:chgData name="Atakan B." userId="a9b0cfb5a759442c" providerId="LiveId" clId="{51A16FC7-7647-C849-B081-9D72DF93AC09}" dt="2025-02-11T19:06:52.654" v="953"/>
        <pc:sldMkLst>
          <pc:docMk/>
          <pc:sldMk cId="1988996323" sldId="416"/>
        </pc:sldMkLst>
        <pc:spChg chg="add mod">
          <ac:chgData name="Atakan B." userId="a9b0cfb5a759442c" providerId="LiveId" clId="{51A16FC7-7647-C849-B081-9D72DF93AC09}" dt="2025-02-11T19:06:52.654" v="953"/>
          <ac:spMkLst>
            <pc:docMk/>
            <pc:sldMk cId="1988996323" sldId="416"/>
            <ac:spMk id="6" creationId="{B2463E75-EAE0-2334-735E-12EE38979E0F}"/>
          </ac:spMkLst>
        </pc:spChg>
        <pc:spChg chg="mod">
          <ac:chgData name="Atakan B." userId="a9b0cfb5a759442c" providerId="LiveId" clId="{51A16FC7-7647-C849-B081-9D72DF93AC09}" dt="2025-02-11T19:06:49.380" v="951" actId="20577"/>
          <ac:spMkLst>
            <pc:docMk/>
            <pc:sldMk cId="1988996323" sldId="416"/>
            <ac:spMk id="12" creationId="{CD850A73-A23D-2812-85EB-00B2C8680C3A}"/>
          </ac:spMkLst>
        </pc:spChg>
      </pc:sldChg>
    </pc:docChg>
  </pc:docChgLst>
  <pc:docChgLst>
    <pc:chgData name="Agah Celebi" userId="5990b23d9d5bc4c9" providerId="Windows Live" clId="Web-{B96546CB-29F4-4DBF-ADBE-8D2C5B346A3E}"/>
    <pc:docChg chg="addSld delSld modSld sldOrd">
      <pc:chgData name="Agah Celebi" userId="5990b23d9d5bc4c9" providerId="Windows Live" clId="Web-{B96546CB-29F4-4DBF-ADBE-8D2C5B346A3E}" dt="2025-02-11T21:46:52.534" v="1044" actId="20577"/>
      <pc:docMkLst>
        <pc:docMk/>
      </pc:docMkLst>
      <pc:sldChg chg="modSp">
        <pc:chgData name="Agah Celebi" userId="5990b23d9d5bc4c9" providerId="Windows Live" clId="Web-{B96546CB-29F4-4DBF-ADBE-8D2C5B346A3E}" dt="2025-02-11T21:46:52.534" v="1044" actId="20577"/>
        <pc:sldMkLst>
          <pc:docMk/>
          <pc:sldMk cId="2708378843" sldId="291"/>
        </pc:sldMkLst>
        <pc:spChg chg="mod">
          <ac:chgData name="Agah Celebi" userId="5990b23d9d5bc4c9" providerId="Windows Live" clId="Web-{B96546CB-29F4-4DBF-ADBE-8D2C5B346A3E}" dt="2025-02-11T21:46:52.534" v="1044" actId="20577"/>
          <ac:spMkLst>
            <pc:docMk/>
            <pc:sldMk cId="2708378843" sldId="291"/>
            <ac:spMk id="2" creationId="{7F947879-E8E8-8934-7BB8-DF8555258A00}"/>
          </ac:spMkLst>
        </pc:spChg>
      </pc:sldChg>
      <pc:sldChg chg="modSp">
        <pc:chgData name="Agah Celebi" userId="5990b23d9d5bc4c9" providerId="Windows Live" clId="Web-{B96546CB-29F4-4DBF-ADBE-8D2C5B346A3E}" dt="2025-02-11T18:55:21.764" v="5" actId="20577"/>
        <pc:sldMkLst>
          <pc:docMk/>
          <pc:sldMk cId="1992447719" sldId="312"/>
        </pc:sldMkLst>
        <pc:spChg chg="mod">
          <ac:chgData name="Agah Celebi" userId="5990b23d9d5bc4c9" providerId="Windows Live" clId="Web-{B96546CB-29F4-4DBF-ADBE-8D2C5B346A3E}" dt="2025-02-11T18:55:21.764" v="5" actId="20577"/>
          <ac:spMkLst>
            <pc:docMk/>
            <pc:sldMk cId="1992447719" sldId="312"/>
            <ac:spMk id="4" creationId="{00000000-0000-0000-0000-000000000000}"/>
          </ac:spMkLst>
        </pc:spChg>
      </pc:sldChg>
      <pc:sldChg chg="modSp">
        <pc:chgData name="Agah Celebi" userId="5990b23d9d5bc4c9" providerId="Windows Live" clId="Web-{B96546CB-29F4-4DBF-ADBE-8D2C5B346A3E}" dt="2025-02-11T18:55:34.827" v="9" actId="20577"/>
        <pc:sldMkLst>
          <pc:docMk/>
          <pc:sldMk cId="639937474" sldId="317"/>
        </pc:sldMkLst>
        <pc:spChg chg="mod">
          <ac:chgData name="Agah Celebi" userId="5990b23d9d5bc4c9" providerId="Windows Live" clId="Web-{B96546CB-29F4-4DBF-ADBE-8D2C5B346A3E}" dt="2025-02-11T18:55:34.827" v="9" actId="20577"/>
          <ac:spMkLst>
            <pc:docMk/>
            <pc:sldMk cId="639937474" sldId="317"/>
            <ac:spMk id="4" creationId="{00000000-0000-0000-0000-000000000000}"/>
          </ac:spMkLst>
        </pc:spChg>
      </pc:sldChg>
      <pc:sldChg chg="modSp">
        <pc:chgData name="Agah Celebi" userId="5990b23d9d5bc4c9" providerId="Windows Live" clId="Web-{B96546CB-29F4-4DBF-ADBE-8D2C5B346A3E}" dt="2025-02-11T18:55:27.452" v="7" actId="20577"/>
        <pc:sldMkLst>
          <pc:docMk/>
          <pc:sldMk cId="3648099378" sldId="321"/>
        </pc:sldMkLst>
        <pc:spChg chg="mod">
          <ac:chgData name="Agah Celebi" userId="5990b23d9d5bc4c9" providerId="Windows Live" clId="Web-{B96546CB-29F4-4DBF-ADBE-8D2C5B346A3E}" dt="2025-02-11T18:55:27.452" v="7" actId="20577"/>
          <ac:spMkLst>
            <pc:docMk/>
            <pc:sldMk cId="3648099378" sldId="321"/>
            <ac:spMk id="4" creationId="{00000000-0000-0000-0000-000000000000}"/>
          </ac:spMkLst>
        </pc:spChg>
      </pc:sldChg>
      <pc:sldChg chg="modSp">
        <pc:chgData name="Agah Celebi" userId="5990b23d9d5bc4c9" providerId="Windows Live" clId="Web-{B96546CB-29F4-4DBF-ADBE-8D2C5B346A3E}" dt="2025-02-11T21:46:02.189" v="1008" actId="20577"/>
        <pc:sldMkLst>
          <pc:docMk/>
          <pc:sldMk cId="4030990350" sldId="328"/>
        </pc:sldMkLst>
        <pc:spChg chg="mod">
          <ac:chgData name="Agah Celebi" userId="5990b23d9d5bc4c9" providerId="Windows Live" clId="Web-{B96546CB-29F4-4DBF-ADBE-8D2C5B346A3E}" dt="2025-02-11T18:55:12.951" v="4" actId="20577"/>
          <ac:spMkLst>
            <pc:docMk/>
            <pc:sldMk cId="4030990350" sldId="328"/>
            <ac:spMk id="3" creationId="{532A0960-1372-B2CE-2124-8D8504D2B993}"/>
          </ac:spMkLst>
        </pc:spChg>
        <pc:spChg chg="mod">
          <ac:chgData name="Agah Celebi" userId="5990b23d9d5bc4c9" providerId="Windows Live" clId="Web-{B96546CB-29F4-4DBF-ADBE-8D2C5B346A3E}" dt="2025-02-11T21:46:02.189" v="1008" actId="20577"/>
          <ac:spMkLst>
            <pc:docMk/>
            <pc:sldMk cId="4030990350" sldId="328"/>
            <ac:spMk id="5" creationId="{276BB9E2-3195-DBF5-112C-BCBE735AAA67}"/>
          </ac:spMkLst>
        </pc:spChg>
        <pc:spChg chg="mod">
          <ac:chgData name="Agah Celebi" userId="5990b23d9d5bc4c9" providerId="Windows Live" clId="Web-{B96546CB-29F4-4DBF-ADBE-8D2C5B346A3E}" dt="2025-02-11T21:21:20.233" v="892" actId="20577"/>
          <ac:spMkLst>
            <pc:docMk/>
            <pc:sldMk cId="4030990350" sldId="328"/>
            <ac:spMk id="6" creationId="{5313A552-C438-0F8B-90A9-75C2C1218651}"/>
          </ac:spMkLst>
        </pc:spChg>
      </pc:sldChg>
      <pc:sldChg chg="modSp del ord">
        <pc:chgData name="Agah Celebi" userId="5990b23d9d5bc4c9" providerId="Windows Live" clId="Web-{B96546CB-29F4-4DBF-ADBE-8D2C5B346A3E}" dt="2025-02-11T20:11:34.373" v="364"/>
        <pc:sldMkLst>
          <pc:docMk/>
          <pc:sldMk cId="2498417918" sldId="348"/>
        </pc:sldMkLst>
      </pc:sldChg>
      <pc:sldChg chg="del">
        <pc:chgData name="Agah Celebi" userId="5990b23d9d5bc4c9" providerId="Windows Live" clId="Web-{B96546CB-29F4-4DBF-ADBE-8D2C5B346A3E}" dt="2025-02-11T18:58:28.144" v="11"/>
        <pc:sldMkLst>
          <pc:docMk/>
          <pc:sldMk cId="4096807509" sldId="349"/>
        </pc:sldMkLst>
      </pc:sldChg>
      <pc:sldChg chg="addSp modSp">
        <pc:chgData name="Agah Celebi" userId="5990b23d9d5bc4c9" providerId="Windows Live" clId="Web-{B96546CB-29F4-4DBF-ADBE-8D2C5B346A3E}" dt="2025-02-11T20:19:32.155" v="462" actId="1076"/>
        <pc:sldMkLst>
          <pc:docMk/>
          <pc:sldMk cId="667530008" sldId="351"/>
        </pc:sldMkLst>
        <pc:spChg chg="add mod">
          <ac:chgData name="Agah Celebi" userId="5990b23d9d5bc4c9" providerId="Windows Live" clId="Web-{B96546CB-29F4-4DBF-ADBE-8D2C5B346A3E}" dt="2025-02-11T20:19:32.155" v="462" actId="1076"/>
          <ac:spMkLst>
            <pc:docMk/>
            <pc:sldMk cId="667530008" sldId="351"/>
            <ac:spMk id="8" creationId="{557D0168-0425-BCA9-67F5-CF54A1F6E0BE}"/>
          </ac:spMkLst>
        </pc:spChg>
      </pc:sldChg>
      <pc:sldChg chg="addSp modSp">
        <pc:chgData name="Agah Celebi" userId="5990b23d9d5bc4c9" providerId="Windows Live" clId="Web-{B96546CB-29F4-4DBF-ADBE-8D2C5B346A3E}" dt="2025-02-11T20:16:08.117" v="388" actId="20577"/>
        <pc:sldMkLst>
          <pc:docMk/>
          <pc:sldMk cId="2822033000" sldId="365"/>
        </pc:sldMkLst>
        <pc:spChg chg="add mod">
          <ac:chgData name="Agah Celebi" userId="5990b23d9d5bc4c9" providerId="Windows Live" clId="Web-{B96546CB-29F4-4DBF-ADBE-8D2C5B346A3E}" dt="2025-02-11T20:16:08.117" v="388" actId="20577"/>
          <ac:spMkLst>
            <pc:docMk/>
            <pc:sldMk cId="2822033000" sldId="365"/>
            <ac:spMk id="3" creationId="{F1438E8E-3BF5-28E2-9C8C-EF88255AFCB4}"/>
          </ac:spMkLst>
        </pc:spChg>
        <pc:spChg chg="mod">
          <ac:chgData name="Agah Celebi" userId="5990b23d9d5bc4c9" providerId="Windows Live" clId="Web-{B96546CB-29F4-4DBF-ADBE-8D2C5B346A3E}" dt="2025-02-11T19:51:45.816" v="95" actId="20577"/>
          <ac:spMkLst>
            <pc:docMk/>
            <pc:sldMk cId="2822033000" sldId="365"/>
            <ac:spMk id="12" creationId="{B25CC4D6-209E-37C9-E512-A3E95EC51767}"/>
          </ac:spMkLst>
        </pc:spChg>
        <pc:picChg chg="mod">
          <ac:chgData name="Agah Celebi" userId="5990b23d9d5bc4c9" providerId="Windows Live" clId="Web-{B96546CB-29F4-4DBF-ADBE-8D2C5B346A3E}" dt="2025-02-11T20:15:40.866" v="372" actId="1076"/>
          <ac:picMkLst>
            <pc:docMk/>
            <pc:sldMk cId="2822033000" sldId="365"/>
            <ac:picMk id="7" creationId="{82F22AE8-6D17-882F-3074-60D223AC74CD}"/>
          </ac:picMkLst>
        </pc:picChg>
      </pc:sldChg>
      <pc:sldChg chg="modSp del">
        <pc:chgData name="Agah Celebi" userId="5990b23d9d5bc4c9" providerId="Windows Live" clId="Web-{B96546CB-29F4-4DBF-ADBE-8D2C5B346A3E}" dt="2025-02-11T20:20:14.297" v="471"/>
        <pc:sldMkLst>
          <pc:docMk/>
          <pc:sldMk cId="4128083008" sldId="366"/>
        </pc:sldMkLst>
      </pc:sldChg>
      <pc:sldChg chg="modSp">
        <pc:chgData name="Agah Celebi" userId="5990b23d9d5bc4c9" providerId="Windows Live" clId="Web-{B96546CB-29F4-4DBF-ADBE-8D2C5B346A3E}" dt="2025-02-11T18:54:45.154" v="1" actId="20577"/>
        <pc:sldMkLst>
          <pc:docMk/>
          <pc:sldMk cId="2199425858" sldId="368"/>
        </pc:sldMkLst>
      </pc:sldChg>
      <pc:sldChg chg="modSp">
        <pc:chgData name="Agah Celebi" userId="5990b23d9d5bc4c9" providerId="Windows Live" clId="Web-{B96546CB-29F4-4DBF-ADBE-8D2C5B346A3E}" dt="2025-02-11T19:00:56.851" v="83" actId="20577"/>
        <pc:sldMkLst>
          <pc:docMk/>
          <pc:sldMk cId="2476380123" sldId="369"/>
        </pc:sldMkLst>
        <pc:spChg chg="mod">
          <ac:chgData name="Agah Celebi" userId="5990b23d9d5bc4c9" providerId="Windows Live" clId="Web-{B96546CB-29F4-4DBF-ADBE-8D2C5B346A3E}" dt="2025-02-11T19:00:56.851" v="83" actId="20577"/>
          <ac:spMkLst>
            <pc:docMk/>
            <pc:sldMk cId="2476380123" sldId="369"/>
            <ac:spMk id="5" creationId="{21605825-AF33-8129-FC62-05BB57B60365}"/>
          </ac:spMkLst>
        </pc:spChg>
      </pc:sldChg>
      <pc:sldChg chg="addSp delSp modSp">
        <pc:chgData name="Agah Celebi" userId="5990b23d9d5bc4c9" providerId="Windows Live" clId="Web-{B96546CB-29F4-4DBF-ADBE-8D2C5B346A3E}" dt="2025-02-11T20:23:40.414" v="505"/>
        <pc:sldMkLst>
          <pc:docMk/>
          <pc:sldMk cId="35881803" sldId="370"/>
        </pc:sldMkLst>
        <pc:spChg chg="mod">
          <ac:chgData name="Agah Celebi" userId="5990b23d9d5bc4c9" providerId="Windows Live" clId="Web-{B96546CB-29F4-4DBF-ADBE-8D2C5B346A3E}" dt="2025-02-11T19:00:47.351" v="81" actId="20577"/>
          <ac:spMkLst>
            <pc:docMk/>
            <pc:sldMk cId="35881803" sldId="370"/>
            <ac:spMk id="5" creationId="{1DB0C152-2234-EDC2-3758-11A583E8C7A5}"/>
          </ac:spMkLst>
        </pc:spChg>
        <pc:spChg chg="add del mod">
          <ac:chgData name="Agah Celebi" userId="5990b23d9d5bc4c9" providerId="Windows Live" clId="Web-{B96546CB-29F4-4DBF-ADBE-8D2C5B346A3E}" dt="2025-02-11T20:23:40.414" v="505"/>
          <ac:spMkLst>
            <pc:docMk/>
            <pc:sldMk cId="35881803" sldId="370"/>
            <ac:spMk id="8" creationId="{0A6EBB7A-BA9A-7755-B517-0C407BD669AB}"/>
          </ac:spMkLst>
        </pc:spChg>
      </pc:sldChg>
      <pc:sldChg chg="addSp modSp">
        <pc:chgData name="Agah Celebi" userId="5990b23d9d5bc4c9" providerId="Windows Live" clId="Web-{B96546CB-29F4-4DBF-ADBE-8D2C5B346A3E}" dt="2025-02-11T20:19:25.264" v="460" actId="1076"/>
        <pc:sldMkLst>
          <pc:docMk/>
          <pc:sldMk cId="4269741461" sldId="371"/>
        </pc:sldMkLst>
        <pc:spChg chg="mod">
          <ac:chgData name="Agah Celebi" userId="5990b23d9d5bc4c9" providerId="Windows Live" clId="Web-{B96546CB-29F4-4DBF-ADBE-8D2C5B346A3E}" dt="2025-02-11T19:00:51.382" v="82" actId="20577"/>
          <ac:spMkLst>
            <pc:docMk/>
            <pc:sldMk cId="4269741461" sldId="371"/>
            <ac:spMk id="5" creationId="{CD1D3ACA-B667-6D17-3F31-876A9A13F4AC}"/>
          </ac:spMkLst>
        </pc:spChg>
        <pc:spChg chg="add mod">
          <ac:chgData name="Agah Celebi" userId="5990b23d9d5bc4c9" providerId="Windows Live" clId="Web-{B96546CB-29F4-4DBF-ADBE-8D2C5B346A3E}" dt="2025-02-11T20:19:25.264" v="460" actId="1076"/>
          <ac:spMkLst>
            <pc:docMk/>
            <pc:sldMk cId="4269741461" sldId="371"/>
            <ac:spMk id="8" creationId="{9C583677-B90F-191B-4A14-9FF4B9B5C831}"/>
          </ac:spMkLst>
        </pc:spChg>
      </pc:sldChg>
      <pc:sldChg chg="addSp modSp">
        <pc:chgData name="Agah Celebi" userId="5990b23d9d5bc4c9" providerId="Windows Live" clId="Web-{B96546CB-29F4-4DBF-ADBE-8D2C5B346A3E}" dt="2025-02-11T20:19:38.265" v="464" actId="1076"/>
        <pc:sldMkLst>
          <pc:docMk/>
          <pc:sldMk cId="2373400924" sldId="372"/>
        </pc:sldMkLst>
        <pc:spChg chg="add mod">
          <ac:chgData name="Agah Celebi" userId="5990b23d9d5bc4c9" providerId="Windows Live" clId="Web-{B96546CB-29F4-4DBF-ADBE-8D2C5B346A3E}" dt="2025-02-11T20:19:38.265" v="464" actId="1076"/>
          <ac:spMkLst>
            <pc:docMk/>
            <pc:sldMk cId="2373400924" sldId="372"/>
            <ac:spMk id="7" creationId="{8BA40181-278E-FF1E-2BAB-E337C83DC507}"/>
          </ac:spMkLst>
        </pc:spChg>
      </pc:sldChg>
      <pc:sldChg chg="addSp modSp">
        <pc:chgData name="Agah Celebi" userId="5990b23d9d5bc4c9" providerId="Windows Live" clId="Web-{B96546CB-29F4-4DBF-ADBE-8D2C5B346A3E}" dt="2025-02-11T20:19:44.999" v="466" actId="1076"/>
        <pc:sldMkLst>
          <pc:docMk/>
          <pc:sldMk cId="305887204" sldId="373"/>
        </pc:sldMkLst>
        <pc:spChg chg="add mod">
          <ac:chgData name="Agah Celebi" userId="5990b23d9d5bc4c9" providerId="Windows Live" clId="Web-{B96546CB-29F4-4DBF-ADBE-8D2C5B346A3E}" dt="2025-02-11T20:19:44.999" v="466" actId="1076"/>
          <ac:spMkLst>
            <pc:docMk/>
            <pc:sldMk cId="305887204" sldId="373"/>
            <ac:spMk id="7" creationId="{8476A007-F8DA-EF70-093F-48FAAF6A4B42}"/>
          </ac:spMkLst>
        </pc:spChg>
      </pc:sldChg>
      <pc:sldChg chg="addSp modSp">
        <pc:chgData name="Agah Celebi" userId="5990b23d9d5bc4c9" providerId="Windows Live" clId="Web-{B96546CB-29F4-4DBF-ADBE-8D2C5B346A3E}" dt="2025-02-11T20:19:50.828" v="468" actId="1076"/>
        <pc:sldMkLst>
          <pc:docMk/>
          <pc:sldMk cId="1075792875" sldId="374"/>
        </pc:sldMkLst>
        <pc:spChg chg="add mod">
          <ac:chgData name="Agah Celebi" userId="5990b23d9d5bc4c9" providerId="Windows Live" clId="Web-{B96546CB-29F4-4DBF-ADBE-8D2C5B346A3E}" dt="2025-02-11T20:19:50.828" v="468" actId="1076"/>
          <ac:spMkLst>
            <pc:docMk/>
            <pc:sldMk cId="1075792875" sldId="374"/>
            <ac:spMk id="9" creationId="{A4E52D96-4AA4-6447-0C82-4AEFA8DEFD9D}"/>
          </ac:spMkLst>
        </pc:spChg>
      </pc:sldChg>
      <pc:sldChg chg="addSp modSp">
        <pc:chgData name="Agah Celebi" userId="5990b23d9d5bc4c9" providerId="Windows Live" clId="Web-{B96546CB-29F4-4DBF-ADBE-8D2C5B346A3E}" dt="2025-02-11T20:19:57.781" v="470" actId="1076"/>
        <pc:sldMkLst>
          <pc:docMk/>
          <pc:sldMk cId="3505392070" sldId="375"/>
        </pc:sldMkLst>
        <pc:spChg chg="add mod">
          <ac:chgData name="Agah Celebi" userId="5990b23d9d5bc4c9" providerId="Windows Live" clId="Web-{B96546CB-29F4-4DBF-ADBE-8D2C5B346A3E}" dt="2025-02-11T20:19:57.781" v="470" actId="1076"/>
          <ac:spMkLst>
            <pc:docMk/>
            <pc:sldMk cId="3505392070" sldId="375"/>
            <ac:spMk id="9" creationId="{35DC1F3F-ADA1-8657-DEB2-692A20C320B8}"/>
          </ac:spMkLst>
        </pc:spChg>
      </pc:sldChg>
      <pc:sldChg chg="modSp">
        <pc:chgData name="Agah Celebi" userId="5990b23d9d5bc4c9" providerId="Windows Live" clId="Web-{B96546CB-29F4-4DBF-ADBE-8D2C5B346A3E}" dt="2025-02-11T18:55:46.702" v="10" actId="20577"/>
        <pc:sldMkLst>
          <pc:docMk/>
          <pc:sldMk cId="1522033830" sldId="399"/>
        </pc:sldMkLst>
        <pc:spChg chg="mod">
          <ac:chgData name="Agah Celebi" userId="5990b23d9d5bc4c9" providerId="Windows Live" clId="Web-{B96546CB-29F4-4DBF-ADBE-8D2C5B346A3E}" dt="2025-02-11T18:55:46.702" v="10" actId="20577"/>
          <ac:spMkLst>
            <pc:docMk/>
            <pc:sldMk cId="1522033830" sldId="399"/>
            <ac:spMk id="3" creationId="{0E5C2118-8FE3-E260-4015-22F0C764FADC}"/>
          </ac:spMkLst>
        </pc:spChg>
      </pc:sldChg>
      <pc:sldChg chg="modSp">
        <pc:chgData name="Agah Celebi" userId="5990b23d9d5bc4c9" providerId="Windows Live" clId="Web-{B96546CB-29F4-4DBF-ADBE-8D2C5B346A3E}" dt="2025-02-11T18:55:05.279" v="3" actId="20577"/>
        <pc:sldMkLst>
          <pc:docMk/>
          <pc:sldMk cId="2328512398" sldId="400"/>
        </pc:sldMkLst>
      </pc:sldChg>
      <pc:sldChg chg="addSp modSp">
        <pc:chgData name="Agah Celebi" userId="5990b23d9d5bc4c9" providerId="Windows Live" clId="Web-{B96546CB-29F4-4DBF-ADBE-8D2C5B346A3E}" dt="2025-02-11T20:16:22.320" v="392" actId="1076"/>
        <pc:sldMkLst>
          <pc:docMk/>
          <pc:sldMk cId="2614791245" sldId="402"/>
        </pc:sldMkLst>
        <pc:spChg chg="add mod">
          <ac:chgData name="Agah Celebi" userId="5990b23d9d5bc4c9" providerId="Windows Live" clId="Web-{B96546CB-29F4-4DBF-ADBE-8D2C5B346A3E}" dt="2025-02-11T20:16:22.320" v="392" actId="1076"/>
          <ac:spMkLst>
            <pc:docMk/>
            <pc:sldMk cId="2614791245" sldId="402"/>
            <ac:spMk id="8" creationId="{27BF7070-E8AC-0130-C189-A985FCC0A003}"/>
          </ac:spMkLst>
        </pc:spChg>
      </pc:sldChg>
      <pc:sldChg chg="addSp modSp">
        <pc:chgData name="Agah Celebi" userId="5990b23d9d5bc4c9" providerId="Windows Live" clId="Web-{B96546CB-29F4-4DBF-ADBE-8D2C5B346A3E}" dt="2025-02-11T20:16:33.383" v="396" actId="1076"/>
        <pc:sldMkLst>
          <pc:docMk/>
          <pc:sldMk cId="2659070570" sldId="403"/>
        </pc:sldMkLst>
        <pc:spChg chg="add mod">
          <ac:chgData name="Agah Celebi" userId="5990b23d9d5bc4c9" providerId="Windows Live" clId="Web-{B96546CB-29F4-4DBF-ADBE-8D2C5B346A3E}" dt="2025-02-11T20:16:33.383" v="396" actId="1076"/>
          <ac:spMkLst>
            <pc:docMk/>
            <pc:sldMk cId="2659070570" sldId="403"/>
            <ac:spMk id="8" creationId="{D7ABF778-C251-82F8-2684-7CEF3D5E57CA}"/>
          </ac:spMkLst>
        </pc:spChg>
      </pc:sldChg>
      <pc:sldChg chg="addSp modSp">
        <pc:chgData name="Agah Celebi" userId="5990b23d9d5bc4c9" providerId="Windows Live" clId="Web-{B96546CB-29F4-4DBF-ADBE-8D2C5B346A3E}" dt="2025-02-11T20:16:52.728" v="400" actId="1076"/>
        <pc:sldMkLst>
          <pc:docMk/>
          <pc:sldMk cId="1217027087" sldId="404"/>
        </pc:sldMkLst>
        <pc:spChg chg="add mod">
          <ac:chgData name="Agah Celebi" userId="5990b23d9d5bc4c9" providerId="Windows Live" clId="Web-{B96546CB-29F4-4DBF-ADBE-8D2C5B346A3E}" dt="2025-02-11T20:16:52.728" v="400" actId="1076"/>
          <ac:spMkLst>
            <pc:docMk/>
            <pc:sldMk cId="1217027087" sldId="404"/>
            <ac:spMk id="7" creationId="{221864B3-AD18-D115-EB0B-71BD2647BC5B}"/>
          </ac:spMkLst>
        </pc:spChg>
        <pc:picChg chg="mod">
          <ac:chgData name="Agah Celebi" userId="5990b23d9d5bc4c9" providerId="Windows Live" clId="Web-{B96546CB-29F4-4DBF-ADBE-8D2C5B346A3E}" dt="2025-02-11T20:16:43.368" v="397" actId="1076"/>
          <ac:picMkLst>
            <pc:docMk/>
            <pc:sldMk cId="1217027087" sldId="404"/>
            <ac:picMk id="6" creationId="{B37C78B3-58DC-CE44-A62F-4F15DE3EFED9}"/>
          </ac:picMkLst>
        </pc:picChg>
      </pc:sldChg>
      <pc:sldChg chg="addSp modSp">
        <pc:chgData name="Agah Celebi" userId="5990b23d9d5bc4c9" providerId="Windows Live" clId="Web-{B96546CB-29F4-4DBF-ADBE-8D2C5B346A3E}" dt="2025-02-11T20:16:59.415" v="402" actId="1076"/>
        <pc:sldMkLst>
          <pc:docMk/>
          <pc:sldMk cId="2207425498" sldId="405"/>
        </pc:sldMkLst>
        <pc:spChg chg="add mod">
          <ac:chgData name="Agah Celebi" userId="5990b23d9d5bc4c9" providerId="Windows Live" clId="Web-{B96546CB-29F4-4DBF-ADBE-8D2C5B346A3E}" dt="2025-02-11T20:16:59.415" v="402" actId="1076"/>
          <ac:spMkLst>
            <pc:docMk/>
            <pc:sldMk cId="2207425498" sldId="405"/>
            <ac:spMk id="8" creationId="{D5B356AF-ACB0-BC75-D175-7B260C690627}"/>
          </ac:spMkLst>
        </pc:spChg>
        <pc:spChg chg="mod">
          <ac:chgData name="Agah Celebi" userId="5990b23d9d5bc4c9" providerId="Windows Live" clId="Web-{B96546CB-29F4-4DBF-ADBE-8D2C5B346A3E}" dt="2025-02-11T19:52:00.019" v="98" actId="20577"/>
          <ac:spMkLst>
            <pc:docMk/>
            <pc:sldMk cId="2207425498" sldId="405"/>
            <ac:spMk id="12" creationId="{4A252C60-1134-456B-F694-833971732CC2}"/>
          </ac:spMkLst>
        </pc:spChg>
      </pc:sldChg>
      <pc:sldChg chg="addSp modSp">
        <pc:chgData name="Agah Celebi" userId="5990b23d9d5bc4c9" providerId="Windows Live" clId="Web-{B96546CB-29F4-4DBF-ADBE-8D2C5B346A3E}" dt="2025-02-11T21:29:25.968" v="894" actId="20577"/>
        <pc:sldMkLst>
          <pc:docMk/>
          <pc:sldMk cId="2037074328" sldId="406"/>
        </pc:sldMkLst>
        <pc:spChg chg="add mod">
          <ac:chgData name="Agah Celebi" userId="5990b23d9d5bc4c9" providerId="Windows Live" clId="Web-{B96546CB-29F4-4DBF-ADBE-8D2C5B346A3E}" dt="2025-02-11T20:17:05.666" v="404" actId="1076"/>
          <ac:spMkLst>
            <pc:docMk/>
            <pc:sldMk cId="2037074328" sldId="406"/>
            <ac:spMk id="7" creationId="{933F1F4D-30CB-3F97-115D-E14CD7DF052B}"/>
          </ac:spMkLst>
        </pc:spChg>
        <pc:spChg chg="mod">
          <ac:chgData name="Agah Celebi" userId="5990b23d9d5bc4c9" providerId="Windows Live" clId="Web-{B96546CB-29F4-4DBF-ADBE-8D2C5B346A3E}" dt="2025-02-11T21:29:25.968" v="894" actId="20577"/>
          <ac:spMkLst>
            <pc:docMk/>
            <pc:sldMk cId="2037074328" sldId="406"/>
            <ac:spMk id="12" creationId="{751F2985-56FB-B0B0-0E38-7C97248B2A3B}"/>
          </ac:spMkLst>
        </pc:spChg>
      </pc:sldChg>
      <pc:sldChg chg="addSp modSp">
        <pc:chgData name="Agah Celebi" userId="5990b23d9d5bc4c9" providerId="Windows Live" clId="Web-{B96546CB-29F4-4DBF-ADBE-8D2C5B346A3E}" dt="2025-02-11T20:17:15.572" v="406" actId="1076"/>
        <pc:sldMkLst>
          <pc:docMk/>
          <pc:sldMk cId="2172842821" sldId="407"/>
        </pc:sldMkLst>
        <pc:spChg chg="add mod">
          <ac:chgData name="Agah Celebi" userId="5990b23d9d5bc4c9" providerId="Windows Live" clId="Web-{B96546CB-29F4-4DBF-ADBE-8D2C5B346A3E}" dt="2025-02-11T20:17:15.572" v="406" actId="1076"/>
          <ac:spMkLst>
            <pc:docMk/>
            <pc:sldMk cId="2172842821" sldId="407"/>
            <ac:spMk id="9" creationId="{580145EF-9A30-3068-934E-5F6BE553634E}"/>
          </ac:spMkLst>
        </pc:spChg>
      </pc:sldChg>
      <pc:sldChg chg="addSp delSp modSp">
        <pc:chgData name="Agah Celebi" userId="5990b23d9d5bc4c9" providerId="Windows Live" clId="Web-{B96546CB-29F4-4DBF-ADBE-8D2C5B346A3E}" dt="2025-02-11T20:22:33.552" v="484" actId="1076"/>
        <pc:sldMkLst>
          <pc:docMk/>
          <pc:sldMk cId="2123264252" sldId="411"/>
        </pc:sldMkLst>
        <pc:spChg chg="add mod">
          <ac:chgData name="Agah Celebi" userId="5990b23d9d5bc4c9" providerId="Windows Live" clId="Web-{B96546CB-29F4-4DBF-ADBE-8D2C5B346A3E}" dt="2025-02-11T20:22:21.067" v="481" actId="1076"/>
          <ac:spMkLst>
            <pc:docMk/>
            <pc:sldMk cId="2123264252" sldId="411"/>
            <ac:spMk id="7" creationId="{692B9042-D82C-2926-12D4-7ED7FCCF9796}"/>
          </ac:spMkLst>
        </pc:spChg>
        <pc:spChg chg="add mod">
          <ac:chgData name="Agah Celebi" userId="5990b23d9d5bc4c9" providerId="Windows Live" clId="Web-{B96546CB-29F4-4DBF-ADBE-8D2C5B346A3E}" dt="2025-02-11T20:22:33.552" v="484" actId="1076"/>
          <ac:spMkLst>
            <pc:docMk/>
            <pc:sldMk cId="2123264252" sldId="411"/>
            <ac:spMk id="11" creationId="{575F477B-7304-0288-FD2C-74146E20AF0F}"/>
          </ac:spMkLst>
        </pc:spChg>
      </pc:sldChg>
      <pc:sldChg chg="addSp delSp modSp">
        <pc:chgData name="Agah Celebi" userId="5990b23d9d5bc4c9" providerId="Windows Live" clId="Web-{B96546CB-29F4-4DBF-ADBE-8D2C5B346A3E}" dt="2025-02-11T20:22:52.209" v="491" actId="1076"/>
        <pc:sldMkLst>
          <pc:docMk/>
          <pc:sldMk cId="673551181" sldId="412"/>
        </pc:sldMkLst>
        <pc:spChg chg="add mod">
          <ac:chgData name="Agah Celebi" userId="5990b23d9d5bc4c9" providerId="Windows Live" clId="Web-{B96546CB-29F4-4DBF-ADBE-8D2C5B346A3E}" dt="2025-02-11T20:22:44.037" v="488" actId="1076"/>
          <ac:spMkLst>
            <pc:docMk/>
            <pc:sldMk cId="673551181" sldId="412"/>
            <ac:spMk id="13" creationId="{38A7F236-64F9-C35F-499B-AB3A29CB92A5}"/>
          </ac:spMkLst>
        </pc:spChg>
        <pc:spChg chg="add mod">
          <ac:chgData name="Agah Celebi" userId="5990b23d9d5bc4c9" providerId="Windows Live" clId="Web-{B96546CB-29F4-4DBF-ADBE-8D2C5B346A3E}" dt="2025-02-11T20:22:52.209" v="491" actId="1076"/>
          <ac:spMkLst>
            <pc:docMk/>
            <pc:sldMk cId="673551181" sldId="412"/>
            <ac:spMk id="15" creationId="{C4FF0024-9AF5-90B9-F449-5BD06E312356}"/>
          </ac:spMkLst>
        </pc:spChg>
      </pc:sldChg>
      <pc:sldChg chg="addSp delSp modSp">
        <pc:chgData name="Agah Celebi" userId="5990b23d9d5bc4c9" providerId="Windows Live" clId="Web-{B96546CB-29F4-4DBF-ADBE-8D2C5B346A3E}" dt="2025-02-11T20:23:00.115" v="494" actId="1076"/>
        <pc:sldMkLst>
          <pc:docMk/>
          <pc:sldMk cId="2311508125" sldId="413"/>
        </pc:sldMkLst>
        <pc:spChg chg="add mod">
          <ac:chgData name="Agah Celebi" userId="5990b23d9d5bc4c9" providerId="Windows Live" clId="Web-{B96546CB-29F4-4DBF-ADBE-8D2C5B346A3E}" dt="2025-02-11T20:23:00.115" v="494" actId="1076"/>
          <ac:spMkLst>
            <pc:docMk/>
            <pc:sldMk cId="2311508125" sldId="413"/>
            <ac:spMk id="10" creationId="{7EB84DA0-F7CD-AA6E-0E11-762CEF8C1D29}"/>
          </ac:spMkLst>
        </pc:spChg>
      </pc:sldChg>
      <pc:sldChg chg="addSp delSp modSp">
        <pc:chgData name="Agah Celebi" userId="5990b23d9d5bc4c9" providerId="Windows Live" clId="Web-{B96546CB-29F4-4DBF-ADBE-8D2C5B346A3E}" dt="2025-02-11T20:23:14.975" v="499"/>
        <pc:sldMkLst>
          <pc:docMk/>
          <pc:sldMk cId="1054140315" sldId="414"/>
        </pc:sldMkLst>
        <pc:spChg chg="add mod">
          <ac:chgData name="Agah Celebi" userId="5990b23d9d5bc4c9" providerId="Windows Live" clId="Web-{B96546CB-29F4-4DBF-ADBE-8D2C5B346A3E}" dt="2025-02-11T20:23:12.913" v="498" actId="1076"/>
          <ac:spMkLst>
            <pc:docMk/>
            <pc:sldMk cId="1054140315" sldId="414"/>
            <ac:spMk id="13" creationId="{67B7D688-81E1-EB29-46D7-A3C183546BEA}"/>
          </ac:spMkLst>
        </pc:spChg>
      </pc:sldChg>
      <pc:sldChg chg="modSp">
        <pc:chgData name="Agah Celebi" userId="5990b23d9d5bc4c9" providerId="Windows Live" clId="Web-{B96546CB-29F4-4DBF-ADBE-8D2C5B346A3E}" dt="2025-02-11T19:01:38.446" v="85" actId="20577"/>
        <pc:sldMkLst>
          <pc:docMk/>
          <pc:sldMk cId="2257970813" sldId="415"/>
        </pc:sldMkLst>
        <pc:spChg chg="mod">
          <ac:chgData name="Agah Celebi" userId="5990b23d9d5bc4c9" providerId="Windows Live" clId="Web-{B96546CB-29F4-4DBF-ADBE-8D2C5B346A3E}" dt="2025-02-11T19:01:38.446" v="85" actId="20577"/>
          <ac:spMkLst>
            <pc:docMk/>
            <pc:sldMk cId="2257970813" sldId="415"/>
            <ac:spMk id="12" creationId="{93448190-3708-0144-46DA-E13B11DABF15}"/>
          </ac:spMkLst>
        </pc:spChg>
      </pc:sldChg>
      <pc:sldChg chg="modSp">
        <pc:chgData name="Agah Celebi" userId="5990b23d9d5bc4c9" providerId="Windows Live" clId="Web-{B96546CB-29F4-4DBF-ADBE-8D2C5B346A3E}" dt="2025-02-11T19:00:28.585" v="80" actId="20577"/>
        <pc:sldMkLst>
          <pc:docMk/>
          <pc:sldMk cId="1988996323" sldId="416"/>
        </pc:sldMkLst>
        <pc:spChg chg="mod">
          <ac:chgData name="Agah Celebi" userId="5990b23d9d5bc4c9" providerId="Windows Live" clId="Web-{B96546CB-29F4-4DBF-ADBE-8D2C5B346A3E}" dt="2025-02-11T19:00:28.585" v="80" actId="20577"/>
          <ac:spMkLst>
            <pc:docMk/>
            <pc:sldMk cId="1988996323" sldId="416"/>
            <ac:spMk id="12" creationId="{CD850A73-A23D-2812-85EB-00B2C8680C3A}"/>
          </ac:spMkLst>
        </pc:spChg>
      </pc:sldChg>
      <pc:sldChg chg="modSp add replId">
        <pc:chgData name="Agah Celebi" userId="5990b23d9d5bc4c9" providerId="Windows Live" clId="Web-{B96546CB-29F4-4DBF-ADBE-8D2C5B346A3E}" dt="2025-02-11T20:11:30.404" v="363" actId="20577"/>
        <pc:sldMkLst>
          <pc:docMk/>
          <pc:sldMk cId="4020935070" sldId="417"/>
        </pc:sldMkLst>
        <pc:spChg chg="mod">
          <ac:chgData name="Agah Celebi" userId="5990b23d9d5bc4c9" providerId="Windows Live" clId="Web-{B96546CB-29F4-4DBF-ADBE-8D2C5B346A3E}" dt="2025-02-11T20:07:47.615" v="170" actId="20577"/>
          <ac:spMkLst>
            <pc:docMk/>
            <pc:sldMk cId="4020935070" sldId="417"/>
            <ac:spMk id="5" creationId="{38EED83D-6A11-E5FF-00B1-A03F2E4EFE26}"/>
          </ac:spMkLst>
        </pc:spChg>
        <pc:spChg chg="mod">
          <ac:chgData name="Agah Celebi" userId="5990b23d9d5bc4c9" providerId="Windows Live" clId="Web-{B96546CB-29F4-4DBF-ADBE-8D2C5B346A3E}" dt="2025-02-11T20:11:30.404" v="363" actId="20577"/>
          <ac:spMkLst>
            <pc:docMk/>
            <pc:sldMk cId="4020935070" sldId="417"/>
            <ac:spMk id="12" creationId="{BA038357-462D-99AA-C3ED-B5399C08F5C4}"/>
          </ac:spMkLst>
        </pc:spChg>
      </pc:sldChg>
      <pc:sldChg chg="addSp delSp modSp add replId">
        <pc:chgData name="Agah Celebi" userId="5990b23d9d5bc4c9" providerId="Windows Live" clId="Web-{B96546CB-29F4-4DBF-ADBE-8D2C5B346A3E}" dt="2025-02-11T20:24:35.041" v="525" actId="1076"/>
        <pc:sldMkLst>
          <pc:docMk/>
          <pc:sldMk cId="2136210603" sldId="418"/>
        </pc:sldMkLst>
        <pc:spChg chg="add mod">
          <ac:chgData name="Agah Celebi" userId="5990b23d9d5bc4c9" providerId="Windows Live" clId="Web-{B96546CB-29F4-4DBF-ADBE-8D2C5B346A3E}" dt="2025-02-11T20:24:35.041" v="525" actId="1076"/>
          <ac:spMkLst>
            <pc:docMk/>
            <pc:sldMk cId="2136210603" sldId="418"/>
            <ac:spMk id="11" creationId="{2093BDA3-C318-6134-4B3A-934651370453}"/>
          </ac:spMkLst>
        </pc:spChg>
        <pc:picChg chg="add mod">
          <ac:chgData name="Agah Celebi" userId="5990b23d9d5bc4c9" providerId="Windows Live" clId="Web-{B96546CB-29F4-4DBF-ADBE-8D2C5B346A3E}" dt="2025-02-11T20:14:43.489" v="369" actId="1076"/>
          <ac:picMkLst>
            <pc:docMk/>
            <pc:sldMk cId="2136210603" sldId="418"/>
            <ac:picMk id="8" creationId="{334CB68F-7837-F333-E91D-E0B6842014B3}"/>
          </ac:picMkLst>
        </pc:picChg>
        <pc:picChg chg="add mod">
          <ac:chgData name="Agah Celebi" userId="5990b23d9d5bc4c9" providerId="Windows Live" clId="Web-{B96546CB-29F4-4DBF-ADBE-8D2C5B346A3E}" dt="2025-02-11T20:14:49.411" v="371" actId="1076"/>
          <ac:picMkLst>
            <pc:docMk/>
            <pc:sldMk cId="2136210603" sldId="418"/>
            <ac:picMk id="9" creationId="{2B528517-7328-0D16-4CC8-AD981966F196}"/>
          </ac:picMkLst>
        </pc:picChg>
      </pc:sldChg>
      <pc:sldChg chg="add del replId">
        <pc:chgData name="Agah Celebi" userId="5990b23d9d5bc4c9" providerId="Windows Live" clId="Web-{B96546CB-29F4-4DBF-ADBE-8D2C5B346A3E}" dt="2025-02-11T20:19:10.686" v="457"/>
        <pc:sldMkLst>
          <pc:docMk/>
          <pc:sldMk cId="4276954921" sldId="419"/>
        </pc:sldMkLst>
      </pc:sldChg>
    </pc:docChg>
  </pc:docChgLst>
  <pc:docChgLst>
    <pc:chgData name="Erdem Agfirat" userId="3def093e706752c9" providerId="Windows Live" clId="Web-{7F34D323-5388-4955-8319-4540A4EFF72E}"/>
    <pc:docChg chg="modSld">
      <pc:chgData name="Erdem Agfirat" userId="3def093e706752c9" providerId="Windows Live" clId="Web-{7F34D323-5388-4955-8319-4540A4EFF72E}" dt="2025-02-09T17:31:38.782" v="4"/>
      <pc:docMkLst>
        <pc:docMk/>
      </pc:docMkLst>
      <pc:sldChg chg="delSp">
        <pc:chgData name="Erdem Agfirat" userId="3def093e706752c9" providerId="Windows Live" clId="Web-{7F34D323-5388-4955-8319-4540A4EFF72E}" dt="2025-02-09T15:24:02.203" v="2"/>
        <pc:sldMkLst>
          <pc:docMk/>
          <pc:sldMk cId="3752208976" sldId="382"/>
        </pc:sldMkLst>
      </pc:sldChg>
      <pc:sldChg chg="delSp">
        <pc:chgData name="Erdem Agfirat" userId="3def093e706752c9" providerId="Windows Live" clId="Web-{7F34D323-5388-4955-8319-4540A4EFF72E}" dt="2025-02-09T17:01:57.450" v="3"/>
        <pc:sldMkLst>
          <pc:docMk/>
          <pc:sldMk cId="3414180287" sldId="392"/>
        </pc:sldMkLst>
      </pc:sldChg>
      <pc:sldChg chg="delSp">
        <pc:chgData name="Erdem Agfirat" userId="3def093e706752c9" providerId="Windows Live" clId="Web-{7F34D323-5388-4955-8319-4540A4EFF72E}" dt="2025-02-09T17:31:38.782" v="4"/>
        <pc:sldMkLst>
          <pc:docMk/>
          <pc:sldMk cId="2890405448" sldId="393"/>
        </pc:sldMkLst>
      </pc:sldChg>
    </pc:docChg>
  </pc:docChgLst>
  <pc:docChgLst>
    <pc:chgData name="Mustafa Alkaya" userId="aacbf56ada369191" providerId="Windows Live" clId="Web-{08FF6144-389B-4B56-AED4-EF35B3FEC604}"/>
    <pc:docChg chg="addSld delSld modSld">
      <pc:chgData name="Mustafa Alkaya" userId="aacbf56ada369191" providerId="Windows Live" clId="Web-{08FF6144-389B-4B56-AED4-EF35B3FEC604}" dt="2025-02-11T21:19:12.985" v="182" actId="20577"/>
      <pc:docMkLst>
        <pc:docMk/>
      </pc:docMkLst>
      <pc:sldChg chg="delSp modSp">
        <pc:chgData name="Mustafa Alkaya" userId="aacbf56ada369191" providerId="Windows Live" clId="Web-{08FF6144-389B-4B56-AED4-EF35B3FEC604}" dt="2025-02-11T18:09:40.753" v="33" actId="20577"/>
        <pc:sldMkLst>
          <pc:docMk/>
          <pc:sldMk cId="435471241" sldId="323"/>
        </pc:sldMkLst>
        <pc:spChg chg="mod">
          <ac:chgData name="Mustafa Alkaya" userId="aacbf56ada369191" providerId="Windows Live" clId="Web-{08FF6144-389B-4B56-AED4-EF35B3FEC604}" dt="2025-02-11T18:09:40.753" v="33" actId="20577"/>
          <ac:spMkLst>
            <pc:docMk/>
            <pc:sldMk cId="435471241" sldId="323"/>
            <ac:spMk id="2" creationId="{958E3AC1-3FED-E61B-4B3D-05F8E1A2D34F}"/>
          </ac:spMkLst>
        </pc:spChg>
      </pc:sldChg>
      <pc:sldChg chg="modSp">
        <pc:chgData name="Mustafa Alkaya" userId="aacbf56ada369191" providerId="Windows Live" clId="Web-{08FF6144-389B-4B56-AED4-EF35B3FEC604}" dt="2025-02-11T21:19:12.985" v="182" actId="20577"/>
        <pc:sldMkLst>
          <pc:docMk/>
          <pc:sldMk cId="4030990350" sldId="328"/>
        </pc:sldMkLst>
        <pc:spChg chg="mod">
          <ac:chgData name="Mustafa Alkaya" userId="aacbf56ada369191" providerId="Windows Live" clId="Web-{08FF6144-389B-4B56-AED4-EF35B3FEC604}" dt="2025-02-11T21:19:12.985" v="182" actId="20577"/>
          <ac:spMkLst>
            <pc:docMk/>
            <pc:sldMk cId="4030990350" sldId="328"/>
            <ac:spMk id="6" creationId="{5313A552-C438-0F8B-90A9-75C2C1218651}"/>
          </ac:spMkLst>
        </pc:spChg>
      </pc:sldChg>
      <pc:sldChg chg="modSp">
        <pc:chgData name="Mustafa Alkaya" userId="aacbf56ada369191" providerId="Windows Live" clId="Web-{08FF6144-389B-4B56-AED4-EF35B3FEC604}" dt="2025-02-11T17:56:36.401" v="22" actId="20577"/>
        <pc:sldMkLst>
          <pc:docMk/>
          <pc:sldMk cId="3736741865" sldId="361"/>
        </pc:sldMkLst>
        <pc:spChg chg="mod">
          <ac:chgData name="Mustafa Alkaya" userId="aacbf56ada369191" providerId="Windows Live" clId="Web-{08FF6144-389B-4B56-AED4-EF35B3FEC604}" dt="2025-02-11T17:56:36.401" v="22" actId="20577"/>
          <ac:spMkLst>
            <pc:docMk/>
            <pc:sldMk cId="3736741865" sldId="361"/>
            <ac:spMk id="2" creationId="{6305C1C5-AA7B-34CA-102F-9B63096826E8}"/>
          </ac:spMkLst>
        </pc:spChg>
      </pc:sldChg>
      <pc:sldChg chg="modSp">
        <pc:chgData name="Mustafa Alkaya" userId="aacbf56ada369191" providerId="Windows Live" clId="Web-{08FF6144-389B-4B56-AED4-EF35B3FEC604}" dt="2025-02-11T21:01:32.208" v="123" actId="20577"/>
        <pc:sldMkLst>
          <pc:docMk/>
          <pc:sldMk cId="343264474" sldId="362"/>
        </pc:sldMkLst>
        <pc:spChg chg="mod">
          <ac:chgData name="Mustafa Alkaya" userId="aacbf56ada369191" providerId="Windows Live" clId="Web-{08FF6144-389B-4B56-AED4-EF35B3FEC604}" dt="2025-02-11T21:01:23.286" v="121" actId="20577"/>
          <ac:spMkLst>
            <pc:docMk/>
            <pc:sldMk cId="343264474" sldId="362"/>
            <ac:spMk id="5" creationId="{424CB0FD-BE8E-315A-DE1E-8CFF29BD5236}"/>
          </ac:spMkLst>
        </pc:spChg>
        <pc:spChg chg="mod">
          <ac:chgData name="Mustafa Alkaya" userId="aacbf56ada369191" providerId="Windows Live" clId="Web-{08FF6144-389B-4B56-AED4-EF35B3FEC604}" dt="2025-02-11T21:01:32.208" v="123" actId="20577"/>
          <ac:spMkLst>
            <pc:docMk/>
            <pc:sldMk cId="343264474" sldId="362"/>
            <ac:spMk id="6" creationId="{FCC9CDA4-C57C-A8B9-4123-349483BD6E9F}"/>
          </ac:spMkLst>
        </pc:spChg>
      </pc:sldChg>
      <pc:sldChg chg="modSp">
        <pc:chgData name="Mustafa Alkaya" userId="aacbf56ada369191" providerId="Windows Live" clId="Web-{08FF6144-389B-4B56-AED4-EF35B3FEC604}" dt="2025-02-11T20:23:11.295" v="76" actId="20577"/>
        <pc:sldMkLst>
          <pc:docMk/>
          <pc:sldMk cId="2378787593" sldId="363"/>
        </pc:sldMkLst>
        <pc:spChg chg="mod">
          <ac:chgData name="Mustafa Alkaya" userId="aacbf56ada369191" providerId="Windows Live" clId="Web-{08FF6144-389B-4B56-AED4-EF35B3FEC604}" dt="2025-02-11T20:23:11.295" v="76" actId="20577"/>
          <ac:spMkLst>
            <pc:docMk/>
            <pc:sldMk cId="2378787593" sldId="363"/>
            <ac:spMk id="3" creationId="{8B0B7A01-52C2-2BCA-E20C-39A0ECBC1572}"/>
          </ac:spMkLst>
        </pc:spChg>
      </pc:sldChg>
      <pc:sldChg chg="del">
        <pc:chgData name="Mustafa Alkaya" userId="aacbf56ada369191" providerId="Windows Live" clId="Web-{08FF6144-389B-4B56-AED4-EF35B3FEC604}" dt="2025-02-11T20:24:31.876" v="91"/>
        <pc:sldMkLst>
          <pc:docMk/>
          <pc:sldMk cId="616956915" sldId="367"/>
        </pc:sldMkLst>
      </pc:sldChg>
      <pc:sldChg chg="del">
        <pc:chgData name="Mustafa Alkaya" userId="aacbf56ada369191" providerId="Windows Live" clId="Web-{08FF6144-389B-4B56-AED4-EF35B3FEC604}" dt="2025-02-11T20:24:28.735" v="90"/>
        <pc:sldMkLst>
          <pc:docMk/>
          <pc:sldMk cId="2199425858" sldId="368"/>
        </pc:sldMkLst>
      </pc:sldChg>
      <pc:sldChg chg="addSp modSp">
        <pc:chgData name="Mustafa Alkaya" userId="aacbf56ada369191" providerId="Windows Live" clId="Web-{08FF6144-389B-4B56-AED4-EF35B3FEC604}" dt="2025-02-11T21:18:14.296" v="177" actId="20577"/>
        <pc:sldMkLst>
          <pc:docMk/>
          <pc:sldMk cId="2927313761" sldId="391"/>
        </pc:sldMkLst>
        <pc:spChg chg="add mod">
          <ac:chgData name="Mustafa Alkaya" userId="aacbf56ada369191" providerId="Windows Live" clId="Web-{08FF6144-389B-4B56-AED4-EF35B3FEC604}" dt="2025-02-11T21:18:14.296" v="177" actId="20577"/>
          <ac:spMkLst>
            <pc:docMk/>
            <pc:sldMk cId="2927313761" sldId="391"/>
            <ac:spMk id="9" creationId="{1E5C63E8-9FDE-82FC-AAF1-A1AA1036081D}"/>
          </ac:spMkLst>
        </pc:spChg>
      </pc:sldChg>
      <pc:sldChg chg="del">
        <pc:chgData name="Mustafa Alkaya" userId="aacbf56ada369191" providerId="Windows Live" clId="Web-{08FF6144-389B-4B56-AED4-EF35B3FEC604}" dt="2025-02-11T19:43:36.246" v="34"/>
        <pc:sldMkLst>
          <pc:docMk/>
          <pc:sldMk cId="3874309064" sldId="397"/>
        </pc:sldMkLst>
      </pc:sldChg>
      <pc:sldChg chg="del">
        <pc:chgData name="Mustafa Alkaya" userId="aacbf56ada369191" providerId="Windows Live" clId="Web-{08FF6144-389B-4B56-AED4-EF35B3FEC604}" dt="2025-02-11T20:24:22.626" v="89"/>
        <pc:sldMkLst>
          <pc:docMk/>
          <pc:sldMk cId="2328512398" sldId="400"/>
        </pc:sldMkLst>
      </pc:sldChg>
      <pc:sldChg chg="modSp">
        <pc:chgData name="Mustafa Alkaya" userId="aacbf56ada369191" providerId="Windows Live" clId="Web-{08FF6144-389B-4B56-AED4-EF35B3FEC604}" dt="2025-02-11T20:23:29.014" v="84" actId="20577"/>
        <pc:sldMkLst>
          <pc:docMk/>
          <pc:sldMk cId="1868753662" sldId="408"/>
        </pc:sldMkLst>
        <pc:spChg chg="mod">
          <ac:chgData name="Mustafa Alkaya" userId="aacbf56ada369191" providerId="Windows Live" clId="Web-{08FF6144-389B-4B56-AED4-EF35B3FEC604}" dt="2025-02-11T20:23:29.014" v="84" actId="20577"/>
          <ac:spMkLst>
            <pc:docMk/>
            <pc:sldMk cId="1868753662" sldId="408"/>
            <ac:spMk id="3" creationId="{F2A8EA0D-6F8F-1895-7D67-26E548377D1E}"/>
          </ac:spMkLst>
        </pc:spChg>
        <pc:spChg chg="mod">
          <ac:chgData name="Mustafa Alkaya" userId="aacbf56ada369191" providerId="Windows Live" clId="Web-{08FF6144-389B-4B56-AED4-EF35B3FEC604}" dt="2025-02-11T20:23:24.733" v="82" actId="20577"/>
          <ac:spMkLst>
            <pc:docMk/>
            <pc:sldMk cId="1868753662" sldId="408"/>
            <ac:spMk id="12" creationId="{0706F750-5394-5C9B-0CCB-5A1F8D011901}"/>
          </ac:spMkLst>
        </pc:spChg>
      </pc:sldChg>
      <pc:sldChg chg="delSp modSp new">
        <pc:chgData name="Mustafa Alkaya" userId="aacbf56ada369191" providerId="Windows Live" clId="Web-{08FF6144-389B-4B56-AED4-EF35B3FEC604}" dt="2025-02-11T21:18:51.828" v="178" actId="20577"/>
        <pc:sldMkLst>
          <pc:docMk/>
          <pc:sldMk cId="1420286859" sldId="419"/>
        </pc:sldMkLst>
        <pc:spChg chg="mod">
          <ac:chgData name="Mustafa Alkaya" userId="aacbf56ada369191" providerId="Windows Live" clId="Web-{08FF6144-389B-4B56-AED4-EF35B3FEC604}" dt="2025-02-11T20:21:58.652" v="44" actId="20577"/>
          <ac:spMkLst>
            <pc:docMk/>
            <pc:sldMk cId="1420286859" sldId="419"/>
            <ac:spMk id="2" creationId="{1DD8711D-ACF7-C05F-5F0F-633E836835ED}"/>
          </ac:spMkLst>
        </pc:spChg>
        <pc:spChg chg="mod">
          <ac:chgData name="Mustafa Alkaya" userId="aacbf56ada369191" providerId="Windows Live" clId="Web-{08FF6144-389B-4B56-AED4-EF35B3FEC604}" dt="2025-02-11T20:23:34.577" v="86" actId="20577"/>
          <ac:spMkLst>
            <pc:docMk/>
            <pc:sldMk cId="1420286859" sldId="419"/>
            <ac:spMk id="4" creationId="{711F1523-23BE-63C8-334E-078C7D884A0F}"/>
          </ac:spMkLst>
        </pc:spChg>
        <pc:spChg chg="mod">
          <ac:chgData name="Mustafa Alkaya" userId="aacbf56ada369191" providerId="Windows Live" clId="Web-{08FF6144-389B-4B56-AED4-EF35B3FEC604}" dt="2025-02-11T21:18:51.828" v="178" actId="20577"/>
          <ac:spMkLst>
            <pc:docMk/>
            <pc:sldMk cId="1420286859" sldId="419"/>
            <ac:spMk id="7" creationId="{D07B507A-39D3-D946-13C8-B1955B0F56C9}"/>
          </ac:spMkLst>
        </pc:spChg>
      </pc:sldChg>
      <pc:sldChg chg="delSp modSp new">
        <pc:chgData name="Mustafa Alkaya" userId="aacbf56ada369191" providerId="Windows Live" clId="Web-{08FF6144-389B-4B56-AED4-EF35B3FEC604}" dt="2025-02-11T20:23:38.343" v="88" actId="20577"/>
        <pc:sldMkLst>
          <pc:docMk/>
          <pc:sldMk cId="4044683214" sldId="420"/>
        </pc:sldMkLst>
        <pc:spChg chg="mod">
          <ac:chgData name="Mustafa Alkaya" userId="aacbf56ada369191" providerId="Windows Live" clId="Web-{08FF6144-389B-4B56-AED4-EF35B3FEC604}" dt="2025-02-11T20:23:38.343" v="88" actId="20577"/>
          <ac:spMkLst>
            <pc:docMk/>
            <pc:sldMk cId="4044683214" sldId="420"/>
            <ac:spMk id="4" creationId="{B3A57554-7B4A-76DC-2A2D-A1FB2AE8711F}"/>
          </ac:spMkLst>
        </pc:spChg>
        <pc:spChg chg="mod">
          <ac:chgData name="Mustafa Alkaya" userId="aacbf56ada369191" providerId="Windows Live" clId="Web-{08FF6144-389B-4B56-AED4-EF35B3FEC604}" dt="2025-02-11T20:22:31.091" v="72" actId="20577"/>
          <ac:spMkLst>
            <pc:docMk/>
            <pc:sldMk cId="4044683214" sldId="420"/>
            <ac:spMk id="7" creationId="{E4AB772E-BE4A-C346-B01F-10FE142A1F54}"/>
          </ac:spMkLst>
        </pc:spChg>
      </pc:sldChg>
      <pc:sldChg chg="addSp delSp modSp new">
        <pc:chgData name="Mustafa Alkaya" userId="aacbf56ada369191" providerId="Windows Live" clId="Web-{08FF6144-389B-4B56-AED4-EF35B3FEC604}" dt="2025-02-11T21:14:35.880" v="144" actId="1076"/>
        <pc:sldMkLst>
          <pc:docMk/>
          <pc:sldMk cId="3256757487" sldId="421"/>
        </pc:sldMkLst>
        <pc:spChg chg="mod">
          <ac:chgData name="Mustafa Alkaya" userId="aacbf56ada369191" providerId="Windows Live" clId="Web-{08FF6144-389B-4B56-AED4-EF35B3FEC604}" dt="2025-02-11T21:01:37.521" v="125" actId="20577"/>
          <ac:spMkLst>
            <pc:docMk/>
            <pc:sldMk cId="3256757487" sldId="421"/>
            <ac:spMk id="2" creationId="{96DCE214-335D-D8E4-0AA9-6FDC2A9D5F74}"/>
          </ac:spMkLst>
        </pc:spChg>
        <pc:spChg chg="mod">
          <ac:chgData name="Mustafa Alkaya" userId="aacbf56ada369191" providerId="Windows Live" clId="Web-{08FF6144-389B-4B56-AED4-EF35B3FEC604}" dt="2025-02-11T21:14:29.318" v="143" actId="20577"/>
          <ac:spMkLst>
            <pc:docMk/>
            <pc:sldMk cId="3256757487" sldId="421"/>
            <ac:spMk id="4" creationId="{80ADDDC7-8D8E-ADA6-764A-CBDC669DFDEF}"/>
          </ac:spMkLst>
        </pc:spChg>
        <pc:picChg chg="add mod modCrop">
          <ac:chgData name="Mustafa Alkaya" userId="aacbf56ada369191" providerId="Windows Live" clId="Web-{08FF6144-389B-4B56-AED4-EF35B3FEC604}" dt="2025-02-11T21:14:35.880" v="144" actId="1076"/>
          <ac:picMkLst>
            <pc:docMk/>
            <pc:sldMk cId="3256757487" sldId="421"/>
            <ac:picMk id="8" creationId="{39067377-FC00-7C7C-D8CB-39BEBCACBD59}"/>
          </ac:picMkLst>
        </pc:picChg>
      </pc:sldChg>
    </pc:docChg>
  </pc:docChgLst>
  <pc:docChgLst>
    <pc:chgData name="Erdem Agfirat" userId="3def093e706752c9" providerId="Windows Live" clId="Web-{34D3ABED-FA47-4F4B-B07D-E0567222899F}"/>
    <pc:docChg chg="addSld delSld modSld sldOrd">
      <pc:chgData name="Erdem Agfirat" userId="3def093e706752c9" providerId="Windows Live" clId="Web-{34D3ABED-FA47-4F4B-B07D-E0567222899F}" dt="2025-02-07T12:18:58.024" v="185" actId="14100"/>
      <pc:docMkLst>
        <pc:docMk/>
      </pc:docMkLst>
      <pc:sldChg chg="modSp ord">
        <pc:chgData name="Erdem Agfirat" userId="3def093e706752c9" providerId="Windows Live" clId="Web-{34D3ABED-FA47-4F4B-B07D-E0567222899F}" dt="2025-02-07T08:42:03.150" v="31" actId="1076"/>
        <pc:sldMkLst>
          <pc:docMk/>
          <pc:sldMk cId="1568747828" sldId="325"/>
        </pc:sldMkLst>
        <pc:spChg chg="mod">
          <ac:chgData name="Erdem Agfirat" userId="3def093e706752c9" providerId="Windows Live" clId="Web-{34D3ABED-FA47-4F4B-B07D-E0567222899F}" dt="2025-02-07T08:41:54.353" v="29" actId="20577"/>
          <ac:spMkLst>
            <pc:docMk/>
            <pc:sldMk cId="1568747828" sldId="325"/>
            <ac:spMk id="5" creationId="{4C866BDF-37D4-CC40-25FD-7B73A7AA7524}"/>
          </ac:spMkLst>
        </pc:spChg>
        <pc:spChg chg="mod">
          <ac:chgData name="Erdem Agfirat" userId="3def093e706752c9" providerId="Windows Live" clId="Web-{34D3ABED-FA47-4F4B-B07D-E0567222899F}" dt="2025-02-07T08:42:03.150" v="31" actId="1076"/>
          <ac:spMkLst>
            <pc:docMk/>
            <pc:sldMk cId="1568747828" sldId="325"/>
            <ac:spMk id="11" creationId="{EDB4B7C9-B5B2-7650-140D-69ABFD8F65D8}"/>
          </ac:spMkLst>
        </pc:spChg>
        <pc:picChg chg="mod">
          <ac:chgData name="Erdem Agfirat" userId="3def093e706752c9" providerId="Windows Live" clId="Web-{34D3ABED-FA47-4F4B-B07D-E0567222899F}" dt="2025-02-07T08:41:58.275" v="30" actId="1076"/>
          <ac:picMkLst>
            <pc:docMk/>
            <pc:sldMk cId="1568747828" sldId="325"/>
            <ac:picMk id="7" creationId="{EBA432DE-AD2B-A37D-4639-436E19A23E0E}"/>
          </ac:picMkLst>
        </pc:picChg>
      </pc:sldChg>
      <pc:sldChg chg="addSp delSp modSp">
        <pc:chgData name="Erdem Agfirat" userId="3def093e706752c9" providerId="Windows Live" clId="Web-{34D3ABED-FA47-4F4B-B07D-E0567222899F}" dt="2025-02-07T12:09:43.296" v="154" actId="1076"/>
        <pc:sldMkLst>
          <pc:docMk/>
          <pc:sldMk cId="2899606391" sldId="356"/>
        </pc:sldMkLst>
      </pc:sldChg>
      <pc:sldChg chg="delSp modSp">
        <pc:chgData name="Erdem Agfirat" userId="3def093e706752c9" providerId="Windows Live" clId="Web-{34D3ABED-FA47-4F4B-B07D-E0567222899F}" dt="2025-02-07T12:18:58.024" v="185" actId="14100"/>
        <pc:sldMkLst>
          <pc:docMk/>
          <pc:sldMk cId="3752208976" sldId="382"/>
        </pc:sldMkLst>
        <pc:spChg chg="mod">
          <ac:chgData name="Erdem Agfirat" userId="3def093e706752c9" providerId="Windows Live" clId="Web-{34D3ABED-FA47-4F4B-B07D-E0567222899F}" dt="2025-02-07T12:10:56.130" v="161" actId="20577"/>
          <ac:spMkLst>
            <pc:docMk/>
            <pc:sldMk cId="3752208976" sldId="382"/>
            <ac:spMk id="5" creationId="{2276D27E-3D37-A4BC-7CE8-720993DC6F5D}"/>
          </ac:spMkLst>
        </pc:spChg>
      </pc:sldChg>
      <pc:sldChg chg="modSp add replId">
        <pc:chgData name="Erdem Agfirat" userId="3def093e706752c9" providerId="Windows Live" clId="Web-{34D3ABED-FA47-4F4B-B07D-E0567222899F}" dt="2025-02-07T12:11:03.818" v="176" actId="20577"/>
        <pc:sldMkLst>
          <pc:docMk/>
          <pc:sldMk cId="233492374" sldId="387"/>
        </pc:sldMkLst>
      </pc:sldChg>
      <pc:sldChg chg="addSp delSp modSp add del replId">
        <pc:chgData name="Erdem Agfirat" userId="3def093e706752c9" providerId="Windows Live" clId="Web-{34D3ABED-FA47-4F4B-B07D-E0567222899F}" dt="2025-02-07T08:41:21.758" v="9"/>
        <pc:sldMkLst>
          <pc:docMk/>
          <pc:sldMk cId="3265273615" sldId="387"/>
        </pc:sldMkLst>
      </pc:sldChg>
    </pc:docChg>
  </pc:docChgLst>
</pc:chgInfo>
</file>

<file path=ppt/comments/modernComment_144_96C4AA9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58DDB0B-B475-4C68-A9A0-22DC553F0D83}" authorId="{2D369B98-24F9-6F7C-6519-4B7C7CA33E20}" created="2025-01-07T08:04:09.881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529471132" sldId="324"/>
      <ac:spMk id="11" creationId="{A1CBB61D-BD8F-A76A-2EC1-B1CD0DDD04B3}"/>
      <ac:txMk cp="211" len="67">
        <ac:context len="357" hash="3014926934"/>
      </ac:txMk>
    </ac:txMkLst>
    <p188:pos x="6283271" y="1077035"/>
    <p188:txBody>
      <a:bodyPr/>
      <a:lstStyle/>
      <a:p>
        <a:r>
          <a:rPr lang="de-DE"/>
          <a:t>An accelerometer typically consists of:
A proof mass (seismic mass) that resists motion due to inertia.
A spring that deforms under force.
A damper to minimize oscillations.
A displacement sensor to measure movement of the proof mass.</a:t>
        </a:r>
      </a:p>
    </p188:txBody>
  </p188:cm>
  <p188:cm id="{B6F311E2-DE3F-40B6-B061-5D7F6075D7B0}" authorId="{2D369B98-24F9-6F7C-6519-4B7C7CA33E20}" created="2025-01-07T08:05:47.43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529471132" sldId="324"/>
      <ac:spMk id="11" creationId="{A1CBB61D-BD8F-A76A-2EC1-B1CD0DDD04B3}"/>
      <ac:txMk cp="312" len="36">
        <ac:context len="357" hash="3014926934"/>
      </ac:txMk>
    </ac:txMkLst>
    <p188:pos x="5920200" y="1345976"/>
    <p188:txBody>
      <a:bodyPr/>
      <a:lstStyle/>
      <a:p>
        <a:r>
          <a:rPr lang="de-DE"/>
          <a:t>Various sensing mechanisms are employed, such as:
Capacitive sensors: Measure changes in capacitance caused by mass displacement.
Piezoelectric sensors: Convert mechanical stress into electrical signals.
Thermal sensors: Detect shifts in heated gas distribution due to acceleration.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21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</a:t>
            </a:r>
            <a:r>
              <a:rPr lang="en-US" baseline="-25000"/>
              <a:t>1,2</a:t>
            </a:r>
            <a:r>
              <a:rPr lang="en-US"/>
              <a:t> form a differential pair (biased by M</a:t>
            </a:r>
            <a:r>
              <a:rPr lang="en-US" baseline="-25000"/>
              <a:t>5</a:t>
            </a:r>
            <a:r>
              <a:rPr lang="en-US"/>
              <a:t>)</a:t>
            </a:r>
          </a:p>
          <a:p>
            <a:endParaRPr lang="en-US"/>
          </a:p>
          <a:p>
            <a:r>
              <a:rPr lang="en-US"/>
              <a:t>M</a:t>
            </a:r>
            <a:r>
              <a:rPr lang="en-US" baseline="-25000"/>
              <a:t>5,6</a:t>
            </a:r>
            <a:r>
              <a:rPr lang="en-US"/>
              <a:t> form a current </a:t>
            </a:r>
            <a:r>
              <a:rPr lang="en-US" err="1"/>
              <a:t>mirrow</a:t>
            </a:r>
            <a:r>
              <a:rPr lang="en-US"/>
              <a:t> (</a:t>
            </a:r>
            <a:r>
              <a:rPr lang="en-US" err="1"/>
              <a:t>I</a:t>
            </a:r>
            <a:r>
              <a:rPr lang="en-US" baseline="-25000" err="1"/>
              <a:t>bias</a:t>
            </a:r>
            <a:r>
              <a:rPr lang="en-US"/>
              <a:t> sets the bias in the OTA)</a:t>
            </a:r>
          </a:p>
          <a:p>
            <a:endParaRPr lang="en-US"/>
          </a:p>
          <a:p>
            <a:r>
              <a:rPr lang="en-US"/>
              <a:t>M</a:t>
            </a:r>
            <a:r>
              <a:rPr lang="en-US" baseline="-25000"/>
              <a:t>1,2</a:t>
            </a:r>
            <a:r>
              <a:rPr lang="en-US"/>
              <a:t> is loaded by the current </a:t>
            </a:r>
            <a:r>
              <a:rPr lang="en-US" err="1"/>
              <a:t>mirrow</a:t>
            </a:r>
            <a:r>
              <a:rPr lang="en-US"/>
              <a:t> M</a:t>
            </a:r>
            <a:r>
              <a:rPr lang="en-US" baseline="-25000"/>
              <a:t>3,4</a:t>
            </a:r>
            <a:r>
              <a:rPr lang="en-US"/>
              <a:t> which </a:t>
            </a:r>
            <a:r>
              <a:rPr lang="en-US" err="1"/>
              <a:t>mirrows</a:t>
            </a:r>
            <a:r>
              <a:rPr lang="en-US"/>
              <a:t> the drain current of M</a:t>
            </a:r>
            <a:r>
              <a:rPr lang="en-US" baseline="-25000"/>
              <a:t>1</a:t>
            </a:r>
            <a:r>
              <a:rPr lang="en-US"/>
              <a:t> to the right side</a:t>
            </a:r>
          </a:p>
          <a:p>
            <a:endParaRPr lang="en-US"/>
          </a:p>
          <a:p>
            <a:r>
              <a:rPr lang="en-US"/>
              <a:t>Current from M</a:t>
            </a:r>
            <a:r>
              <a:rPr lang="en-US" baseline="-25000"/>
              <a:t>4</a:t>
            </a:r>
            <a:r>
              <a:rPr lang="en-US"/>
              <a:t> and M</a:t>
            </a:r>
            <a:r>
              <a:rPr lang="en-US" baseline="-25000"/>
              <a:t>2</a:t>
            </a:r>
            <a:r>
              <a:rPr lang="en-US"/>
              <a:t> are summed for the Output</a:t>
            </a: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6194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1. </a:t>
            </a:r>
            <a:r>
              <a:rPr lang="en-GB" b="1"/>
              <a:t>Op‐Amp (OPA) Ideal Characteristics</a:t>
            </a:r>
            <a:endParaRPr lang="en-GB"/>
          </a:p>
          <a:p>
            <a:r>
              <a:rPr lang="en-GB"/>
              <a:t>• </a:t>
            </a:r>
            <a:r>
              <a:rPr lang="en-GB" b="1"/>
              <a:t>Infinite input impedance</a:t>
            </a:r>
            <a:r>
              <a:rPr lang="en-GB"/>
              <a:t>: This means that, ideally, no current flows into the input pins, which prevents loading of the source circuit.</a:t>
            </a:r>
          </a:p>
          <a:p>
            <a:r>
              <a:rPr lang="en-GB"/>
              <a:t>• </a:t>
            </a:r>
            <a:r>
              <a:rPr lang="en-GB" b="1"/>
              <a:t>Zero output resistance</a:t>
            </a:r>
            <a:r>
              <a:rPr lang="en-GB"/>
              <a:t>: In an ideal op‐amp, the output can drive any load with no voltage drop across the amplifier’s output terminal.</a:t>
            </a:r>
          </a:p>
          <a:p>
            <a:r>
              <a:rPr lang="en-GB"/>
              <a:t>• </a:t>
            </a:r>
            <a:r>
              <a:rPr lang="en-GB" b="1"/>
              <a:t>Infinite voltage gain</a:t>
            </a:r>
            <a:r>
              <a:rPr lang="en-GB"/>
              <a:t>: The op‐amp can amplify a tiny difference between its inputs to produce a large (infinite, ideally) voltage output.</a:t>
            </a:r>
          </a:p>
          <a:p>
            <a:r>
              <a:rPr lang="en-GB"/>
              <a:t>2. </a:t>
            </a:r>
            <a:r>
              <a:rPr lang="en-GB" b="1"/>
              <a:t>OTA (Operational Transconductance Amplifier) Ideal Characteristics</a:t>
            </a:r>
            <a:endParaRPr lang="en-GB"/>
          </a:p>
          <a:p>
            <a:r>
              <a:rPr lang="en-GB"/>
              <a:t>• </a:t>
            </a:r>
            <a:r>
              <a:rPr lang="en-GB" b="1"/>
              <a:t>Infinite input impedance</a:t>
            </a:r>
            <a:r>
              <a:rPr lang="en-GB"/>
              <a:t>: Like an op‐amp, an OTA does not draw current at its input.</a:t>
            </a:r>
          </a:p>
          <a:p>
            <a:r>
              <a:rPr lang="en-GB"/>
              <a:t>• </a:t>
            </a:r>
            <a:r>
              <a:rPr lang="en-GB" b="1"/>
              <a:t>Infinite output resistance</a:t>
            </a:r>
            <a:r>
              <a:rPr lang="en-GB"/>
              <a:t>: An OTA’s output behaves like a current source rather than a low‐impedance voltage source, meaning it naturally drives high‐impedance loads.</a:t>
            </a:r>
          </a:p>
          <a:p>
            <a:r>
              <a:rPr lang="en-GB"/>
              <a:t>• </a:t>
            </a:r>
            <a:r>
              <a:rPr lang="en-GB" b="1"/>
              <a:t>Infinite transconductance</a:t>
            </a:r>
            <a:r>
              <a:rPr lang="en-GB"/>
              <a:t>: The current out of the OTA is (ideally) linearly proportional to the input voltage difference, with an extremely high transconductance factor.</a:t>
            </a:r>
          </a:p>
          <a:p>
            <a:r>
              <a:rPr lang="en-GB"/>
              <a:t>3. </a:t>
            </a:r>
            <a:r>
              <a:rPr lang="en-GB" b="1"/>
              <a:t>Key Insight</a:t>
            </a:r>
            <a:endParaRPr lang="en-GB"/>
          </a:p>
          <a:p>
            <a:r>
              <a:rPr lang="en-GB"/>
              <a:t>• </a:t>
            </a:r>
            <a:r>
              <a:rPr lang="en-GB" b="1"/>
              <a:t>Load dependence</a:t>
            </a:r>
            <a:r>
              <a:rPr lang="en-GB"/>
              <a:t>:</a:t>
            </a:r>
          </a:p>
          <a:p>
            <a:r>
              <a:rPr lang="en-GB"/>
              <a:t>• If we place a high‐impedance (often capacitive) load on an OTA, it behaves similarly to an op‐amp with high gain.</a:t>
            </a:r>
          </a:p>
          <a:p>
            <a:r>
              <a:rPr lang="en-GB"/>
              <a:t>• If we try to drive a low‐impedance load with an OTA, the voltage gain will be low, so we consider it a transconductance amplifier (producing a current output rather than a strong voltage output).</a:t>
            </a:r>
          </a:p>
          <a:p>
            <a:r>
              <a:rPr lang="en-GB"/>
              <a:t>• </a:t>
            </a:r>
            <a:r>
              <a:rPr lang="en-GB" b="1"/>
              <a:t>Why choose OTA vs. Op‐Amp?</a:t>
            </a:r>
            <a:r>
              <a:rPr lang="en-GB"/>
              <a:t>: OTAs can often be simpler and require fewer components than op‐amps. In many integrated circuit designs, simpler is better if it meets the requirements for the application.</a:t>
            </a: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8017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738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294" y="0"/>
            <a:ext cx="9154294" cy="5148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0080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50825" y="2759974"/>
            <a:ext cx="8642350" cy="7200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49871" y="3615866"/>
            <a:ext cx="8643303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9252520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1458000"/>
            <a:ext cx="2649327" cy="137480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14580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0302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76C67B14-8F90-43FB-BDD7-6146A286E3C5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79958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140B4A29-3C06-4B95-9DB8-7FD99C7E6ACB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08"/>
            <a:ext cx="9145796" cy="5144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18871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095375"/>
            <a:ext cx="9144000" cy="4048126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1519" y="3417910"/>
            <a:ext cx="8640959" cy="73471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288512"/>
            <a:ext cx="8642349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-20538"/>
            <a:ext cx="2649327" cy="1374807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-216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77390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 bwMode="gray">
          <a:xfrm>
            <a:off x="247261" y="492520"/>
            <a:ext cx="1044873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400">
                <a:solidFill>
                  <a:schemeClr val="bg1"/>
                </a:solidFill>
              </a:rPr>
              <a:t>Conten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247260" y="1050006"/>
            <a:ext cx="8645219" cy="3600450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8991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51521" y="1536634"/>
            <a:ext cx="8640958" cy="612000"/>
          </a:xfrm>
        </p:spPr>
        <p:txBody>
          <a:bodyPr anchor="b">
            <a:noAutofit/>
          </a:bodyPr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46302" y="2211766"/>
            <a:ext cx="8640958" cy="504000"/>
          </a:xfrm>
        </p:spPr>
        <p:txBody>
          <a:bodyPr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76341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252000" y="1047600"/>
            <a:ext cx="8640000" cy="36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7967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940F3159-185B-4E5D-9848-C5E7CA82DF89}" type="datetime1">
              <a:rPr lang="de-DE" smtClean="0"/>
              <a:t>21.02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80430" y="1047600"/>
            <a:ext cx="4212050" cy="3592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01494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8F6D3BF6-9878-466B-9207-8B4272B1B4EF}" type="datetime1">
              <a:rPr lang="de-DE" smtClean="0"/>
              <a:t>21.02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087041"/>
            <a:ext cx="4213225" cy="357227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3171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469106"/>
            <a:ext cx="9143380" cy="46949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3463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21" y="2247714"/>
            <a:ext cx="8640960" cy="1593177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Zitat bearbeiten</a:t>
            </a:r>
          </a:p>
          <a:p>
            <a:pPr lvl="1"/>
            <a:r>
              <a:rPr lang="de-DE"/>
              <a:t>Zitat 14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3633674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90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9143997" cy="5142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528383" y="4767994"/>
            <a:ext cx="76544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CD74C438-3F37-4FE3-89B5-E54BD76ED9C1}" type="datetime1">
              <a:rPr lang="de-DE" smtClean="0"/>
              <a:t>21.02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50825" y="4767994"/>
            <a:ext cx="680551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/>
              <a:t>ANS Abschlusspräsentation, Atakan Baydogan, Erdem Agfirat, Yasincan Kahraman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00491" y="4767994"/>
            <a:ext cx="39198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825" y="1046438"/>
            <a:ext cx="8640000" cy="36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447574"/>
            <a:ext cx="8640000" cy="54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4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4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8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6.png"/><Relationship Id="rId11" Type="http://schemas.openxmlformats.org/officeDocument/2006/relationships/image" Target="../media/image71.pn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microsoft.com/office/2018/10/relationships/comments" Target="../comments/modernComment_144_96C4AA9C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3.png"/><Relationship Id="rId4" Type="http://schemas.openxmlformats.org/officeDocument/2006/relationships/image" Target="../media/image6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2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6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9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5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8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1043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/>
              <a:t>Concept Engineering Mixed-Technology Systems (CEMS)</a:t>
            </a: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Project Team </a:t>
            </a:r>
            <a:r>
              <a:rPr lang="de-DE" err="1"/>
              <a:t>WiSe</a:t>
            </a:r>
            <a:r>
              <a:rPr lang="de-DE"/>
              <a:t> 2024/2025</a:t>
            </a:r>
          </a:p>
          <a:p>
            <a:r>
              <a:rPr lang="de-DE"/>
              <a:t>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</a:t>
            </a:r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79BE40-F809-1BF7-DD4E-080CD8C50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4">
            <a:extLst>
              <a:ext uri="{FF2B5EF4-FFF2-40B4-BE49-F238E27FC236}">
                <a16:creationId xmlns:a16="http://schemas.microsoft.com/office/drawing/2014/main" id="{7FF88EF5-49C9-4D5F-C0A0-B598AE14A1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en-US"/>
              <a:t>Switch Capacito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408348-9B23-4B88-9832-A2A6785B25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F6D3BF6-9878-466B-9207-8B4272B1B4EF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6CDFD4-E24E-A52C-DB60-964A9C943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0</a:t>
            </a:fld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D56242-A896-B031-9446-5240A36FEC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9950" y="2041065"/>
            <a:ext cx="4213225" cy="1664224"/>
          </a:xfrm>
          <a:prstGeom prst="rect">
            <a:avLst/>
          </a:prstGeom>
          <a:noFill/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07FF60A5-2AB4-31CA-BDD4-545107C2DF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8775" y="1740306"/>
            <a:ext cx="4212050" cy="166422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Replaces large resistors with switches and small capaci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 clock-driven capacitor emulates a resis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only requires capacitors and switches (no bulky resistors)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AF16DBF-CE3A-6BBE-A91D-C7DF3E154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781602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10DB31-3B26-3E57-E8C0-FD0D530204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62B81C2-EC8B-B2E9-B8FB-81F4DF7E5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de-DE"/>
              <a:t>5 Transistor OTA (Operational </a:t>
            </a:r>
            <a:r>
              <a:rPr lang="de-DE" err="1"/>
              <a:t>Transconductance</a:t>
            </a:r>
            <a:r>
              <a:rPr lang="de-DE"/>
              <a:t> Amplifier)</a:t>
            </a:r>
            <a:endParaRPr lang="en-D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571655-BB24-9BA1-815A-E236817D32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7A03AD99-654D-45D3-8058-1E79AA2E7FD7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4628C2-E838-9E94-6845-203BEE45E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D22FD-C3A0-237E-22A2-2901C853C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1</a:t>
            </a:fld>
            <a:endParaRPr lang="de-DE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1F717144-F1CA-80F1-CE3A-FA3CA4E5D0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1" y="1829093"/>
            <a:ext cx="4212050" cy="20973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Uses only five transistors</a:t>
            </a:r>
          </a:p>
          <a:p>
            <a:pPr marL="466725" lvl="1" indent="-285750">
              <a:buFont typeface="Wingdings" pitchFamily="2" charset="2"/>
              <a:buChar char="Ø"/>
            </a:pPr>
            <a:r>
              <a:rPr lang="en-US"/>
              <a:t>two for the differential pair </a:t>
            </a:r>
          </a:p>
          <a:p>
            <a:pPr marL="466725" lvl="1" indent="-285750">
              <a:buFont typeface="Wingdings" pitchFamily="2" charset="2"/>
              <a:buChar char="Ø"/>
            </a:pPr>
            <a:r>
              <a:rPr lang="en-US"/>
              <a:t>two for the current mirror load</a:t>
            </a:r>
          </a:p>
          <a:p>
            <a:pPr marL="466725" lvl="1" indent="-285750">
              <a:buFont typeface="Wingdings" pitchFamily="2" charset="2"/>
              <a:buChar char="Ø"/>
            </a:pPr>
            <a:r>
              <a:rPr lang="en-US"/>
              <a:t>one as the tail current source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Converts the differential input voltage (Vin+ − Vin−) into an output current (</a:t>
            </a:r>
            <a:r>
              <a:rPr lang="en-GB" err="1"/>
              <a:t>Iout</a:t>
            </a:r>
            <a:r>
              <a:rPr lang="en-GB"/>
              <a:t>), which can be fed into a next-stage load or an integration capacitor.</a:t>
            </a:r>
          </a:p>
          <a:p>
            <a:endParaRPr lang="en-US"/>
          </a:p>
        </p:txBody>
      </p:sp>
      <p:pic>
        <p:nvPicPr>
          <p:cNvPr id="14" name="Picture 13" descr="A diagram of a circuit&#10;&#10;AI-generated content may be incorrect.">
            <a:extLst>
              <a:ext uri="{FF2B5EF4-FFF2-40B4-BE49-F238E27FC236}">
                <a16:creationId xmlns:a16="http://schemas.microsoft.com/office/drawing/2014/main" id="{82156293-E611-DD7D-C309-5FC67F85BC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4606" y="1965513"/>
            <a:ext cx="2728065" cy="121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200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CDE01-FD0C-4906-AA36-A7ACA27BC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Op-amp vs. OTA (ideal case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024985-A11D-FD73-E093-4D8DA2D07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8D8FC3-C28E-1158-D33C-F3A5CBB55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2E1CA2-05BE-CA51-8A1E-82822DFB8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A48B3B3-8608-03E1-AD9A-3CE4DD0593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8775" y="1019184"/>
            <a:ext cx="4212050" cy="3592115"/>
          </a:xfrm>
        </p:spPr>
        <p:txBody>
          <a:bodyPr/>
          <a:lstStyle/>
          <a:p>
            <a:r>
              <a:rPr lang="en-GB"/>
              <a:t>Op‐Amp (OPA) Ideal Characteristics</a:t>
            </a:r>
          </a:p>
          <a:p>
            <a:endParaRPr lang="en-GB"/>
          </a:p>
          <a:p>
            <a:r>
              <a:rPr lang="en-GB"/>
              <a:t>• Infinite input impedance</a:t>
            </a:r>
          </a:p>
          <a:p>
            <a:r>
              <a:rPr lang="en-GB"/>
              <a:t>• Zero output resistance (voltage output)</a:t>
            </a:r>
          </a:p>
          <a:p>
            <a:r>
              <a:rPr lang="en-GB"/>
              <a:t>• Infinite voltage gain</a:t>
            </a:r>
          </a:p>
          <a:p>
            <a:endParaRPr lang="en-DE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DC1EAF8-9FE1-F9C4-FD7A-3C8433457905}"/>
              </a:ext>
            </a:extLst>
          </p:cNvPr>
          <p:cNvSpPr txBox="1">
            <a:spLocks/>
          </p:cNvSpPr>
          <p:nvPr/>
        </p:nvSpPr>
        <p:spPr bwMode="gray">
          <a:xfrm>
            <a:off x="4570825" y="1009231"/>
            <a:ext cx="4212050" cy="35921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OTA Ideal Characteristics</a:t>
            </a:r>
          </a:p>
          <a:p>
            <a:endParaRPr lang="en-GB"/>
          </a:p>
          <a:p>
            <a:r>
              <a:rPr lang="en-GB"/>
              <a:t>• Infinite input impedance</a:t>
            </a:r>
          </a:p>
          <a:p>
            <a:r>
              <a:rPr lang="en-GB"/>
              <a:t>• Infinite output resistance (current output)</a:t>
            </a:r>
          </a:p>
          <a:p>
            <a:r>
              <a:rPr lang="en-GB"/>
              <a:t>• Infinite transconductance</a:t>
            </a:r>
          </a:p>
          <a:p>
            <a:endParaRPr lang="en-GB"/>
          </a:p>
          <a:p>
            <a:endParaRPr lang="en-DE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846C238-F3A9-D66C-A951-9B02FF7A23A4}"/>
              </a:ext>
            </a:extLst>
          </p:cNvPr>
          <p:cNvSpPr txBox="1">
            <a:spLocks/>
          </p:cNvSpPr>
          <p:nvPr/>
        </p:nvSpPr>
        <p:spPr bwMode="gray">
          <a:xfrm>
            <a:off x="4570825" y="2571750"/>
            <a:ext cx="4212050" cy="35921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hoosing an OTA vs. an Op‐Amp often depends on the load (high or low impedance)</a:t>
            </a:r>
          </a:p>
          <a:p>
            <a:endParaRPr lang="en-GB"/>
          </a:p>
          <a:p>
            <a:r>
              <a:rPr lang="en-GB"/>
              <a:t>OTAs can be simpler but less ideal for direct low‐impedance voltage output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86E503C-9FC4-89FA-EC98-59FB9BC6CE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806" y="2571750"/>
            <a:ext cx="3905988" cy="1178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5287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CE214-335D-D8E4-0AA9-6FDC2A9D5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ea typeface="Calibri"/>
                <a:cs typeface="Calibri"/>
              </a:rPr>
              <a:t>Circuit Simulation </a:t>
            </a:r>
            <a:r>
              <a:rPr lang="de-DE" err="1">
                <a:ea typeface="Calibri"/>
                <a:cs typeface="Calibri"/>
              </a:rPr>
              <a:t>b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LTspice</a:t>
            </a: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r>
              <a:rPr lang="de-DE">
                <a:ea typeface="Calibri"/>
                <a:cs typeface="Calibri"/>
              </a:rPr>
              <a:t> </a:t>
            </a:r>
            <a:endParaRPr lang="en-GB">
              <a:solidFill>
                <a:srgbClr val="000000"/>
              </a:solidFill>
              <a:ea typeface="Calibri"/>
              <a:cs typeface="Calibri"/>
            </a:endParaRPr>
          </a:p>
          <a:p>
            <a:endParaRPr lang="en-GB">
              <a:ea typeface="Calibri"/>
              <a:cs typeface="Calibri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CD1C51-AD93-8036-523E-A59C621D8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ADDDC7-8D8E-ADA6-764A-CBDC669DF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80F85E-5463-3E0A-55D6-2A676ECD0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8" name="Picture 7" descr="A diagram of a circuit&#10;&#10;AI-generated content may be incorrect.">
            <a:extLst>
              <a:ext uri="{FF2B5EF4-FFF2-40B4-BE49-F238E27FC236}">
                <a16:creationId xmlns:a16="http://schemas.microsoft.com/office/drawing/2014/main" id="{39067377-FC00-7C7C-D8CB-39BEBCACBD5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371" r="-118" b="3233"/>
          <a:stretch/>
        </p:blipFill>
        <p:spPr>
          <a:xfrm>
            <a:off x="988864" y="835695"/>
            <a:ext cx="7168440" cy="367293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56757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5B93056-4D45-407F-406D-26044851B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3023E5-0172-426E-6178-725515969D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BE7B22-03B0-CE3F-2A70-2DA0F89C9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24CB0FD-BE8E-315A-DE1E-8CFF29BD5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ea typeface="Calibri"/>
                <a:cs typeface="Calibri"/>
              </a:rPr>
              <a:t>Circuit Simulation </a:t>
            </a:r>
            <a:r>
              <a:rPr lang="de-DE" err="1">
                <a:ea typeface="Calibri"/>
                <a:cs typeface="Calibri"/>
              </a:rPr>
              <a:t>b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LTspice</a:t>
            </a: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br>
              <a:rPr lang="de-DE">
                <a:ea typeface="Calibri"/>
                <a:cs typeface="Calibri"/>
              </a:rPr>
            </a:br>
            <a:r>
              <a:rPr lang="de-DE">
                <a:ea typeface="Calibri"/>
                <a:cs typeface="Calibri"/>
              </a:rPr>
              <a:t> </a:t>
            </a:r>
            <a:endParaRPr lang="de-DE" err="1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CC9CDA4-C57C-A8B9-4123-349483BD6E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>
              <a:ea typeface="Calibri"/>
              <a:cs typeface="Calibri"/>
            </a:endParaRPr>
          </a:p>
          <a:p>
            <a:endParaRPr lang="de-DE">
              <a:ea typeface="Calibri"/>
              <a:cs typeface="Calibri"/>
            </a:endParaRPr>
          </a:p>
        </p:txBody>
      </p:sp>
      <p:pic>
        <p:nvPicPr>
          <p:cNvPr id="10" name="Picture 9" descr="A graph of a function&#10;&#10;AI-generated content may be incorrect.">
            <a:extLst>
              <a:ext uri="{FF2B5EF4-FFF2-40B4-BE49-F238E27FC236}">
                <a16:creationId xmlns:a16="http://schemas.microsoft.com/office/drawing/2014/main" id="{FE219AE3-4C5B-FE91-4A91-6058521FA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00" y="2967457"/>
            <a:ext cx="4198938" cy="1288213"/>
          </a:xfrm>
          <a:prstGeom prst="rect">
            <a:avLst/>
          </a:prstGeom>
        </p:spPr>
      </p:pic>
      <p:pic>
        <p:nvPicPr>
          <p:cNvPr id="11" name="Picture 10" descr="A green and black barcode&#10;&#10;AI-generated content may be incorrect.">
            <a:extLst>
              <a:ext uri="{FF2B5EF4-FFF2-40B4-BE49-F238E27FC236}">
                <a16:creationId xmlns:a16="http://schemas.microsoft.com/office/drawing/2014/main" id="{915C945D-655D-293C-7367-480E307428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188" y="1356144"/>
            <a:ext cx="4214814" cy="1423151"/>
          </a:xfrm>
          <a:prstGeom prst="rect">
            <a:avLst/>
          </a:prstGeom>
        </p:spPr>
      </p:pic>
      <p:pic>
        <p:nvPicPr>
          <p:cNvPr id="12" name="Picture 11" descr="A blue and black barcode&#10;&#10;AI-generated content may be incorrect.">
            <a:extLst>
              <a:ext uri="{FF2B5EF4-FFF2-40B4-BE49-F238E27FC236}">
                <a16:creationId xmlns:a16="http://schemas.microsoft.com/office/drawing/2014/main" id="{D3CE9C6A-67E8-5403-C8A7-A586D93481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000" y="1356144"/>
            <a:ext cx="4198937" cy="1431087"/>
          </a:xfrm>
          <a:prstGeom prst="rect">
            <a:avLst/>
          </a:prstGeom>
        </p:spPr>
      </p:pic>
      <p:pic>
        <p:nvPicPr>
          <p:cNvPr id="13" name="Picture 12" descr="A blue and green line graph&#10;&#10;AI-generated content may be incorrect.">
            <a:extLst>
              <a:ext uri="{FF2B5EF4-FFF2-40B4-BE49-F238E27FC236}">
                <a16:creationId xmlns:a16="http://schemas.microsoft.com/office/drawing/2014/main" id="{0982D5DC-04E0-A58D-D629-87A5EE2A5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5187" y="2967457"/>
            <a:ext cx="4214813" cy="1296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44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4ADEF17-43F6-68E0-5B64-82E9D35B9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92A7FC-ECAA-92FD-F63C-A99879118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A85137A-ED38-AD0E-1A2C-833087357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ea typeface="Calibri"/>
                <a:cs typeface="Calibri"/>
              </a:rPr>
              <a:t>ASIC Design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IIC-Tools / xsche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A21F40A-E552-67E7-83F6-7B0B6DD210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Open Source Tools </a:t>
            </a:r>
            <a:r>
              <a:rPr lang="de-DE" err="1">
                <a:ea typeface="Calibri"/>
                <a:cs typeface="Calibri"/>
              </a:rPr>
              <a:t>from</a:t>
            </a:r>
            <a:r>
              <a:rPr lang="de-DE">
                <a:ea typeface="Calibri"/>
                <a:cs typeface="Calibri"/>
              </a:rPr>
              <a:t> JKU </a:t>
            </a:r>
            <a:r>
              <a:rPr lang="de-DE" err="1">
                <a:ea typeface="Calibri"/>
                <a:cs typeface="Calibri"/>
              </a:rPr>
              <a:t>allow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new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pportunuties</a:t>
            </a:r>
            <a:r>
              <a:rPr lang="de-DE">
                <a:ea typeface="Calibri"/>
                <a:cs typeface="Calibri"/>
              </a:rPr>
              <a:t> in IC design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Docker Container </a:t>
            </a:r>
            <a:r>
              <a:rPr lang="de-DE" err="1">
                <a:ea typeface="Calibri"/>
                <a:cs typeface="Calibri"/>
              </a:rPr>
              <a:t>allow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oftwar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to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run</a:t>
            </a:r>
            <a:r>
              <a:rPr lang="de-DE">
                <a:ea typeface="Calibri"/>
                <a:cs typeface="Calibri"/>
              </a:rPr>
              <a:t> on </a:t>
            </a:r>
            <a:r>
              <a:rPr lang="de-DE" err="1">
                <a:ea typeface="Calibri"/>
                <a:cs typeface="Calibri"/>
              </a:rPr>
              <a:t>man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perating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ystems</a:t>
            </a:r>
          </a:p>
          <a:p>
            <a:pPr marL="285750" indent="-285750">
              <a:buChar char="•"/>
            </a:pPr>
            <a:r>
              <a:rPr lang="de-DE" err="1">
                <a:ea typeface="Calibri"/>
                <a:cs typeface="Calibri"/>
              </a:rPr>
              <a:t>Xschem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i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chematic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aptur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tool</a:t>
            </a:r>
            <a:r>
              <a:rPr lang="de-DE">
                <a:ea typeface="Calibri"/>
                <a:cs typeface="Calibri"/>
              </a:rPr>
              <a:t> like </a:t>
            </a:r>
            <a:r>
              <a:rPr lang="de-DE" err="1">
                <a:ea typeface="Calibri"/>
                <a:cs typeface="Calibri"/>
              </a:rPr>
              <a:t>ltspice</a:t>
            </a:r>
            <a:r>
              <a:rPr lang="de-DE">
                <a:ea typeface="Calibri"/>
                <a:cs typeface="Calibri"/>
              </a:rPr>
              <a:t> and </a:t>
            </a:r>
            <a:r>
              <a:rPr lang="de-DE" err="1">
                <a:ea typeface="Calibri"/>
                <a:cs typeface="Calibri"/>
              </a:rPr>
              <a:t>th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generat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netlist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a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imulat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ngspice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A </a:t>
            </a:r>
            <a:r>
              <a:rPr lang="de-DE" err="1">
                <a:ea typeface="Calibri"/>
                <a:cs typeface="Calibri"/>
              </a:rPr>
              <a:t>handful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f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elect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omponent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a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imulated</a:t>
            </a:r>
            <a:r>
              <a:rPr lang="de-DE">
                <a:ea typeface="Calibri"/>
                <a:cs typeface="Calibri"/>
              </a:rPr>
              <a:t> and </a:t>
            </a:r>
            <a:r>
              <a:rPr lang="de-DE" err="1">
                <a:ea typeface="Calibri"/>
                <a:cs typeface="Calibri"/>
              </a:rPr>
              <a:t>late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rout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to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have</a:t>
            </a:r>
            <a:r>
              <a:rPr lang="de-DE">
                <a:ea typeface="Calibri"/>
                <a:cs typeface="Calibri"/>
              </a:rPr>
              <a:t> a </a:t>
            </a:r>
            <a:r>
              <a:rPr lang="de-DE" err="1">
                <a:ea typeface="Calibri"/>
                <a:cs typeface="Calibri"/>
              </a:rPr>
              <a:t>full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ustom</a:t>
            </a:r>
            <a:r>
              <a:rPr lang="de-DE">
                <a:ea typeface="Calibri"/>
                <a:cs typeface="Calibri"/>
              </a:rPr>
              <a:t> design</a:t>
            </a:r>
          </a:p>
          <a:p>
            <a:pPr marL="285750" indent="-285750">
              <a:buChar char="•"/>
            </a:pPr>
            <a:r>
              <a:rPr lang="de-DE" err="1">
                <a:ea typeface="Calibri"/>
                <a:cs typeface="Calibri"/>
              </a:rPr>
              <a:t>Exampl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omponent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re</a:t>
            </a:r>
            <a:r>
              <a:rPr lang="de-DE">
                <a:ea typeface="Calibri"/>
                <a:cs typeface="Calibri"/>
              </a:rPr>
              <a:t>: 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endParaRPr lang="de-DE">
              <a:ea typeface="Calibri"/>
              <a:cs typeface="Calibri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4706FC1-0F3A-6606-0242-51B83EEAB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25698256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6AE0F-549A-FE03-F987-115998399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F86B8C1-D94E-8A9E-D4AC-C088C7036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de-DE"/>
              <a:t>IC Level - Components</a:t>
            </a:r>
            <a:endParaRPr lang="de-DE" err="1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C6E139F-B311-9445-DA83-264BFCDF64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BE3EA3-59BB-3E6A-E707-A1273FE5B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6</a:t>
            </a:fld>
            <a:endParaRPr lang="de-DE"/>
          </a:p>
        </p:txBody>
      </p:sp>
      <p:pic>
        <p:nvPicPr>
          <p:cNvPr id="7" name="Grafik 6" descr="Ein Bild, das Text, Screenshot, Schrift, Dokument enthält.&#10;&#10;KI-generierte Inhalte können fehlerhaft sein.">
            <a:extLst>
              <a:ext uri="{FF2B5EF4-FFF2-40B4-BE49-F238E27FC236}">
                <a16:creationId xmlns:a16="http://schemas.microsoft.com/office/drawing/2014/main" id="{82F22AE8-6D17-882F-3074-60D223AC74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697" b="-1"/>
          <a:stretch/>
        </p:blipFill>
        <p:spPr>
          <a:xfrm>
            <a:off x="4679950" y="862782"/>
            <a:ext cx="4213225" cy="3572272"/>
          </a:xfrm>
          <a:prstGeom prst="rect">
            <a:avLst/>
          </a:prstGeom>
          <a:noFill/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25CC4D6-209E-37C9-E512-A3E95EC517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Selection of Components </a:t>
            </a:r>
            <a:r>
              <a:rPr lang="en-US" err="1">
                <a:ea typeface="Calibri"/>
                <a:cs typeface="Calibri"/>
              </a:rPr>
              <a:t>avaible</a:t>
            </a:r>
            <a:r>
              <a:rPr lang="en-US">
                <a:ea typeface="Calibri"/>
                <a:cs typeface="Calibri"/>
              </a:rPr>
              <a:t> from IHP SG13G3 PDK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Different components for different use case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03C07CDC-5389-2486-56D8-B7452EDEB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1438E8E-3BF5-28E2-9C8C-EF88255AFCB4}"/>
              </a:ext>
            </a:extLst>
          </p:cNvPr>
          <p:cNvSpPr txBox="1"/>
          <p:nvPr/>
        </p:nvSpPr>
        <p:spPr>
          <a:xfrm>
            <a:off x="4754217" y="4364934"/>
            <a:ext cx="163167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H.Pretl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2033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354BC-606A-8659-3EE4-8D0665945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1901BB5-5956-71AF-DA3B-2FE8C02A9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de-DE"/>
              <a:t>IC Level – Components - MOSFET</a:t>
            </a:r>
            <a:endParaRPr lang="de-DE" err="1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1C9C8D-1958-2C8B-C42D-0BA2A1D79E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3F2B69-A303-4F20-CFC3-EF30A5A54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9CA4B3-8468-E4C1-F991-DF1F1EB5A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7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BCCD5D8-C5D7-9748-CD33-E076C6B270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6801885" cy="3592115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Commonly known P and N MOSFETs used for switching and amplification (in saturation or triode state, saturation =&gt; ID is controlled largely by </a:t>
            </a:r>
            <a:r>
              <a:rPr lang="en-US" err="1">
                <a:ea typeface="Calibri"/>
                <a:cs typeface="Calibri"/>
              </a:rPr>
              <a:t>Vgs</a:t>
            </a:r>
            <a:r>
              <a:rPr lang="en-US">
                <a:ea typeface="Calibri"/>
                <a:cs typeface="Calibri"/>
              </a:rPr>
              <a:t>)</a:t>
            </a:r>
          </a:p>
          <a:p>
            <a:pPr marL="285750" indent="-285750">
              <a:buChar char="•"/>
            </a:pPr>
            <a:r>
              <a:rPr lang="en-US" err="1">
                <a:ea typeface="Calibri"/>
                <a:cs typeface="Calibri"/>
              </a:rPr>
              <a:t>Parasitics</a:t>
            </a:r>
            <a:r>
              <a:rPr lang="en-US">
                <a:ea typeface="Calibri"/>
                <a:cs typeface="Calibri"/>
              </a:rPr>
              <a:t> like gate-capacitance Cgs need to be taken into account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One of the most important MOSFET parameter: gm = Transconductance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Describes </a:t>
            </a:r>
            <a:r>
              <a:rPr lang="en-US" err="1">
                <a:ea typeface="Calibri"/>
                <a:cs typeface="Calibri"/>
              </a:rPr>
              <a:t>th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behaviour</a:t>
            </a:r>
            <a:r>
              <a:rPr lang="en-US">
                <a:ea typeface="Calibri"/>
                <a:cs typeface="Calibri"/>
              </a:rPr>
              <a:t> of the Drain Current ID in relation to the Gate-Source Volt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Id = gm*</a:t>
            </a:r>
            <a:r>
              <a:rPr lang="en-US" err="1">
                <a:ea typeface="Calibri"/>
                <a:cs typeface="Calibri"/>
              </a:rPr>
              <a:t>vgs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>
                <a:ea typeface="Calibri"/>
                <a:cs typeface="Calibri"/>
              </a:rPr>
              <a:t>Parasitics</a:t>
            </a:r>
            <a:r>
              <a:rPr lang="en-US">
                <a:ea typeface="Calibri"/>
                <a:cs typeface="Calibri"/>
              </a:rPr>
              <a:t> and FET geometry influence transit frequency (current gain drops to unity): </a:t>
            </a:r>
            <a:r>
              <a:rPr lang="en-US" err="1">
                <a:ea typeface="Calibri"/>
                <a:cs typeface="Calibri"/>
              </a:rPr>
              <a:t>coarsly</a:t>
            </a:r>
            <a:r>
              <a:rPr lang="en-US">
                <a:ea typeface="Calibri"/>
                <a:cs typeface="Calibri"/>
              </a:rPr>
              <a:t> the maximum frequency of the FET (MOSFET should be used up to ft/1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FETs are being dimensioned by gm/ID methodology, gm being the transconductance and ID is the drain cur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Rule of Thumb states: gm/ID ≥ 10 for low voltage applications (takes less space to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Gm/ID ≤ 5 for high speed circuits like in RF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SG13G2 LV NMOS usable up to 7.5 GHz approximat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6" name="Grafik 5" descr="Ein Bild, das Diagramm, Reihe enthält.&#10;&#10;KI-generierte Inhalte können fehlerhaft sein.">
            <a:extLst>
              <a:ext uri="{FF2B5EF4-FFF2-40B4-BE49-F238E27FC236}">
                <a16:creationId xmlns:a16="http://schemas.microsoft.com/office/drawing/2014/main" id="{9C28227E-2E7C-7C91-5037-873FC747C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0558" y="1132233"/>
            <a:ext cx="1122829" cy="30861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7BF7070-E8AC-0130-C189-A985FCC0A003}"/>
              </a:ext>
            </a:extLst>
          </p:cNvPr>
          <p:cNvSpPr txBox="1"/>
          <p:nvPr/>
        </p:nvSpPr>
        <p:spPr>
          <a:xfrm>
            <a:off x="7586869" y="4356652"/>
            <a:ext cx="102704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47912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A6BA1B-E298-6CB6-5D28-932B3A9D54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CC50386-C67B-61E3-A6BC-4433FE569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Components - MOSFET</a:t>
            </a:r>
            <a:endParaRPr lang="de-DE" err="1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90B3F1-15BF-E7C0-25A7-34AD5E2EF1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CFDAFE-B2CE-3078-6AC1-C6ACB227C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5666A8-E613-75E6-DAFC-A112D609A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8</a:t>
            </a:fld>
            <a:endParaRPr lang="de-DE"/>
          </a:p>
        </p:txBody>
      </p:sp>
      <p:pic>
        <p:nvPicPr>
          <p:cNvPr id="7" name="Grafik 6" descr="Ein Bild, das Text, Reihe, Diagramm, Screenshot enthält.&#10;&#10;KI-generierte Inhalte können fehlerhaft sein.">
            <a:extLst>
              <a:ext uri="{FF2B5EF4-FFF2-40B4-BE49-F238E27FC236}">
                <a16:creationId xmlns:a16="http://schemas.microsoft.com/office/drawing/2014/main" id="{A1933D69-E949-9B25-EAEE-2F9A153F8D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8665" y="1285464"/>
            <a:ext cx="4654509" cy="3110317"/>
          </a:xfrm>
          <a:prstGeom prst="rect">
            <a:avLst/>
          </a:prstGeom>
          <a:noFill/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5475188-A9BB-46F4-5CEF-242953E5BC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843108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Plot shows relation of the transit frequency over gm/ID with different Channel Lengths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Our Circuits have FETs with a Channel Length of 130nm and a Channel Width of 1µm due to smaller overall chip are and drain current and gate-source voltage threshold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Basically, to change gm/ID the W/L ratio needs to be changed, ideally leaving the channel length constant and increasing or decreasing the channel width W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7ABF778-C251-82F8-2684-7CEF3D5E57CA}"/>
              </a:ext>
            </a:extLst>
          </p:cNvPr>
          <p:cNvSpPr txBox="1"/>
          <p:nvPr/>
        </p:nvSpPr>
        <p:spPr>
          <a:xfrm>
            <a:off x="6046304" y="4398064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90705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A7372D-D5B4-D2D5-736E-03DB0B2F52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525B0BE-0F0B-F09D-07D8-FC8A8C370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Components - MOSFET</a:t>
            </a:r>
            <a:endParaRPr lang="de-DE" err="1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3967BB8-6450-BEAF-9B54-60BB1BAC18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9F9AC2-D7E9-2321-A164-B4C477B08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19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757C7D-772F-F5A6-226B-B67E019399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843108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Plot shows relation of FET resistance and source voltage, plot to show that every parameter influences FET </a:t>
            </a:r>
            <a:r>
              <a:rPr lang="en-US" err="1">
                <a:ea typeface="Calibri"/>
                <a:cs typeface="Calibri"/>
              </a:rPr>
              <a:t>behaviour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Low resistance for low voltage at NMOS and low resistance for high voltage at PMOS show where they can ideally be used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At </a:t>
            </a:r>
            <a:r>
              <a:rPr lang="en-US" err="1">
                <a:ea typeface="Calibri"/>
                <a:cs typeface="Calibri"/>
              </a:rPr>
              <a:t>lowside</a:t>
            </a:r>
            <a:r>
              <a:rPr lang="en-US">
                <a:ea typeface="Calibri"/>
                <a:cs typeface="Calibri"/>
              </a:rPr>
              <a:t> and </a:t>
            </a:r>
            <a:r>
              <a:rPr lang="en-US" err="1">
                <a:ea typeface="Calibri"/>
                <a:cs typeface="Calibri"/>
              </a:rPr>
              <a:t>highside</a:t>
            </a:r>
            <a:r>
              <a:rPr lang="en-US">
                <a:ea typeface="Calibri"/>
                <a:cs typeface="Calibri"/>
              </a:rPr>
              <a:t> respectively</a:t>
            </a: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6" name="Grafik 5" descr="Ein Bild, das Reihe, Diagramm, Text, parallel enthält.&#10;&#10;KI-generierte Inhalte können fehlerhaft sein.">
            <a:extLst>
              <a:ext uri="{FF2B5EF4-FFF2-40B4-BE49-F238E27FC236}">
                <a16:creationId xmlns:a16="http://schemas.microsoft.com/office/drawing/2014/main" id="{B37C78B3-58DC-CE44-A62F-4F15DE3EFE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9831" y="1305119"/>
            <a:ext cx="4368018" cy="3086100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9B2CD79-B8F7-4A72-7672-B90575F27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21864B3-AD18-D115-EB0B-71BD2647BC5B}"/>
              </a:ext>
            </a:extLst>
          </p:cNvPr>
          <p:cNvSpPr txBox="1"/>
          <p:nvPr/>
        </p:nvSpPr>
        <p:spPr>
          <a:xfrm>
            <a:off x="6427305" y="4389781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7027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F947879-E8E8-8934-7BB8-DF8555258A0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359410" indent="-359410"/>
            <a:r>
              <a:rPr lang="de-DE">
                <a:ea typeface="Calibri"/>
                <a:cs typeface="Calibri"/>
              </a:rPr>
              <a:t>General </a:t>
            </a:r>
            <a:r>
              <a:rPr lang="de-DE" err="1">
                <a:ea typeface="Calibri"/>
                <a:cs typeface="Calibri"/>
              </a:rPr>
              <a:t>Informations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/>
              <a:t>System </a:t>
            </a:r>
            <a:r>
              <a:rPr lang="de-DE" err="1"/>
              <a:t>Overview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>
                <a:ea typeface="Calibri"/>
                <a:cs typeface="Calibri"/>
              </a:rPr>
              <a:t>Signal Description</a:t>
            </a:r>
            <a:endParaRPr lang="de-DE"/>
          </a:p>
          <a:p>
            <a:pPr marL="359410" indent="-359410"/>
            <a:r>
              <a:rPr lang="de-DE" err="1">
                <a:ea typeface="Calibri"/>
                <a:cs typeface="Calibri"/>
              </a:rPr>
              <a:t>Inface</a:t>
            </a:r>
            <a:r>
              <a:rPr lang="de-DE">
                <a:ea typeface="Calibri"/>
                <a:cs typeface="Calibri"/>
              </a:rPr>
              <a:t> Description</a:t>
            </a:r>
            <a:endParaRPr lang="de-DE"/>
          </a:p>
          <a:p>
            <a:pPr marL="359410" indent="-359410"/>
            <a:r>
              <a:rPr lang="de-DE"/>
              <a:t>A/D Converter</a:t>
            </a:r>
            <a:endParaRPr lang="de-DE" err="1">
              <a:ea typeface="Calibri"/>
              <a:cs typeface="Calibri"/>
            </a:endParaRPr>
          </a:p>
          <a:p>
            <a:pPr marL="359410" indent="-359410"/>
            <a:r>
              <a:rPr lang="de-DE"/>
              <a:t>Switched </a:t>
            </a:r>
            <a:r>
              <a:rPr lang="de-DE" err="1"/>
              <a:t>Capacitors</a:t>
            </a:r>
            <a:r>
              <a:rPr lang="de-DE"/>
              <a:t> and OTAs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 err="1">
                <a:ea typeface="Calibri"/>
                <a:cs typeface="Calibri"/>
              </a:rPr>
              <a:t>LTspic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nalysis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 err="1">
                <a:ea typeface="Calibri"/>
                <a:cs typeface="Calibri"/>
              </a:rPr>
              <a:t>xschem</a:t>
            </a:r>
            <a:r>
              <a:rPr lang="de-DE">
                <a:ea typeface="Calibri"/>
                <a:cs typeface="Calibri"/>
              </a:rPr>
              <a:t>/</a:t>
            </a:r>
            <a:r>
              <a:rPr lang="de-DE" err="1">
                <a:ea typeface="Calibri"/>
                <a:cs typeface="Calibri"/>
              </a:rPr>
              <a:t>ngspice</a:t>
            </a:r>
            <a:endParaRPr lang="de-DE" err="1"/>
          </a:p>
          <a:p>
            <a:pPr marL="359410" indent="-359410"/>
            <a:r>
              <a:rPr lang="de-DE"/>
              <a:t>Implementation – Hardware – Software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>
                <a:ea typeface="Calibri"/>
                <a:cs typeface="Calibri"/>
              </a:rPr>
              <a:t>Futue Outlook</a:t>
            </a:r>
          </a:p>
          <a:p>
            <a:pPr marL="359410" indent="-359410"/>
            <a:r>
              <a:rPr lang="de-DE" err="1"/>
              <a:t>Cost</a:t>
            </a:r>
            <a:r>
              <a:rPr lang="de-DE"/>
              <a:t> Calculation</a:t>
            </a:r>
            <a:endParaRPr lang="de-DE">
              <a:ea typeface="Calibri"/>
              <a:cs typeface="Calibri"/>
            </a:endParaRPr>
          </a:p>
          <a:p>
            <a:pPr marL="359410" indent="-359410"/>
            <a:r>
              <a:rPr lang="de-DE">
                <a:ea typeface="Calibri"/>
                <a:cs typeface="Calibri"/>
              </a:rPr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7083788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DCADC-0AEC-50A2-864E-286B5FEA5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267F9C8-BD2D-FDC7-D347-F4EEE987A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</a:t>
            </a:r>
            <a:r>
              <a:rPr lang="de-DE" err="1"/>
              <a:t>Subcircuits</a:t>
            </a:r>
            <a:r>
              <a:rPr lang="de-DE"/>
              <a:t> – MOSFET </a:t>
            </a:r>
            <a:r>
              <a:rPr lang="de-DE" err="1"/>
              <a:t>as</a:t>
            </a:r>
            <a:r>
              <a:rPr lang="de-DE"/>
              <a:t> Diode</a:t>
            </a:r>
            <a:endParaRPr lang="de-DE" err="1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D0C34A-E34E-8458-A7CC-194054FA6B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502818-569A-67BC-CB48-B8171F1B81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0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52C60-1134-456B-F694-833971732C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843108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Bias Current controls drain current (Kirchhoff says hi) by projecting the drain-source voltage drop to the gate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W, L and bias current act together to create a specific voltage drop which can later be used for additional current sinks (FETs with </a:t>
            </a:r>
            <a:r>
              <a:rPr lang="en-US" err="1">
                <a:ea typeface="Calibri"/>
                <a:cs typeface="Calibri"/>
              </a:rPr>
              <a:t>exacly</a:t>
            </a:r>
            <a:r>
              <a:rPr lang="en-US">
                <a:ea typeface="Calibri"/>
                <a:cs typeface="Calibri"/>
              </a:rPr>
              <a:t> the same gate-source voltage as this one)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Calculation as follows: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Desired bias current: 20 µA, gm/ID = 10, L = 130 µm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Find our W from drain-current to width ratio over gm/ID curves for our channel length and bias current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We get approx. 1 µm channel width</a:t>
            </a:r>
          </a:p>
          <a:p>
            <a:pPr marL="466725" lvl="1">
              <a:buFont typeface="Courier New" panose="020B0604020202020204" pitchFamily="34" charset="0"/>
              <a:buChar char="o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7" name="Grafik 6" descr="Ein Bild, das Diagramm, Entwurf, Symbol, Design enthält.&#10;&#10;KI-generierte Inhalte können fehlerhaft sein.">
            <a:extLst>
              <a:ext uri="{FF2B5EF4-FFF2-40B4-BE49-F238E27FC236}">
                <a16:creationId xmlns:a16="http://schemas.microsoft.com/office/drawing/2014/main" id="{72F68A6F-7A69-5E6D-C32F-743D30033B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7844" y="1341505"/>
            <a:ext cx="2181225" cy="2457450"/>
          </a:xfrm>
          <a:prstGeom prst="rect">
            <a:avLst/>
          </a:prstGeom>
        </p:spPr>
      </p:pic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F8AD44A9-2D85-5ABA-A7B6-741DBD570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5B356AF-ACB0-BC75-D175-7B260C690627}"/>
              </a:ext>
            </a:extLst>
          </p:cNvPr>
          <p:cNvSpPr txBox="1"/>
          <p:nvPr/>
        </p:nvSpPr>
        <p:spPr>
          <a:xfrm>
            <a:off x="7056782" y="4273825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074254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1768DB-15B6-66DA-8108-9C1A6A340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B41B2AF-93EB-2AF9-B10F-629D986CA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</a:t>
            </a:r>
            <a:r>
              <a:rPr lang="de-DE" err="1"/>
              <a:t>Subcircuits</a:t>
            </a:r>
            <a:r>
              <a:rPr lang="de-DE"/>
              <a:t> – </a:t>
            </a:r>
            <a:r>
              <a:rPr lang="de-DE" err="1"/>
              <a:t>Current</a:t>
            </a:r>
            <a:r>
              <a:rPr lang="de-DE"/>
              <a:t> Mirror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80D944-4A10-3D6A-96D6-BA9F1151F8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8416C6-4893-0D49-8130-60F067DB5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1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51F2985-56FB-B0B0-0E38-7C97248B2A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843108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As mentioned current mirror is one additional or more FET Gates connected to the FET as Diode Circuit</a:t>
            </a:r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Currents in the stages two and three can be trimmed by the ratio of W/L  by the following approxi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>
                <a:ea typeface="Calibri"/>
                <a:cs typeface="Calibri"/>
              </a:rPr>
              <a:t>Ioutx</a:t>
            </a:r>
            <a:r>
              <a:rPr lang="en-US">
                <a:ea typeface="Calibri"/>
                <a:cs typeface="Calibri"/>
              </a:rPr>
              <a:t> = </a:t>
            </a:r>
            <a:r>
              <a:rPr lang="en-US" err="1">
                <a:ea typeface="Calibri"/>
                <a:cs typeface="Calibri"/>
              </a:rPr>
              <a:t>Ibias</a:t>
            </a:r>
            <a:r>
              <a:rPr lang="en-US">
                <a:ea typeface="Calibri"/>
                <a:cs typeface="Calibri"/>
              </a:rPr>
              <a:t> * </a:t>
            </a:r>
            <a:r>
              <a:rPr lang="en-US" err="1">
                <a:ea typeface="Calibri"/>
                <a:cs typeface="Calibri"/>
              </a:rPr>
              <a:t>Wx</a:t>
            </a:r>
            <a:r>
              <a:rPr lang="en-US">
                <a:ea typeface="Calibri"/>
                <a:cs typeface="Calibri"/>
              </a:rPr>
              <a:t>/Lx * L1/W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Current Mirror later being used for biasing and loading </a:t>
            </a:r>
            <a:r>
              <a:rPr lang="en-US" err="1">
                <a:ea typeface="Calibri"/>
                <a:cs typeface="Calibri"/>
              </a:rPr>
              <a:t>differntial</a:t>
            </a:r>
            <a:r>
              <a:rPr lang="en-US">
                <a:ea typeface="Calibri"/>
                <a:cs typeface="Calibri"/>
              </a:rPr>
              <a:t> pai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466725" lvl="1">
              <a:buFont typeface="Courier New" panose="020B0604020202020204" pitchFamily="34" charset="0"/>
              <a:buChar char="o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6" name="Grafik 5" descr="Ein Bild, das Diagramm, Reihe, technische Zeichnung, Plan enthält.&#10;&#10;KI-generierte Inhalte können fehlerhaft sein.">
            <a:extLst>
              <a:ext uri="{FF2B5EF4-FFF2-40B4-BE49-F238E27FC236}">
                <a16:creationId xmlns:a16="http://schemas.microsoft.com/office/drawing/2014/main" id="{44D5A841-6520-4339-1B96-254AC89FF0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0290" y="1435337"/>
            <a:ext cx="4533900" cy="2390775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7DAAE940-FD45-1AF4-7EF8-CB5555C45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33F1F4D-30CB-3F97-115D-E14CD7DF052B}"/>
              </a:ext>
            </a:extLst>
          </p:cNvPr>
          <p:cNvSpPr txBox="1"/>
          <p:nvPr/>
        </p:nvSpPr>
        <p:spPr>
          <a:xfrm>
            <a:off x="6112565" y="4199281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70743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B463BD-568E-F803-140D-49F64954A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90D5FCE-DA14-EA95-5752-A0662CD1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</a:t>
            </a:r>
            <a:r>
              <a:rPr lang="de-DE" err="1"/>
              <a:t>Subcircuits</a:t>
            </a:r>
            <a:r>
              <a:rPr lang="de-DE"/>
              <a:t> – Common Source Amplifier and Differential Pair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B41A3B4-5E2A-F1AC-F76C-4FE6AF98F5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148AD4-41B1-24B9-34EA-C4A4E970B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2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68AFB897-53EF-BD7A-5B86-5BBA7DDB4D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5188664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The common source amplifier amplifies signals and inverts th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mplification depends on transconductance gm and collector resistance R</a:t>
            </a:r>
          </a:p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The DC Amplification ratio is: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Av = </a:t>
            </a:r>
            <a:r>
              <a:rPr lang="en-US" err="1">
                <a:ea typeface="Calibri"/>
                <a:cs typeface="Calibri"/>
              </a:rPr>
              <a:t>vout</a:t>
            </a:r>
            <a:r>
              <a:rPr lang="en-US">
                <a:ea typeface="Calibri"/>
                <a:cs typeface="Calibri"/>
              </a:rPr>
              <a:t>/vin = -gm*vin*R / vin = -gm*R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Two common source amps together make a differential pair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The differential pair has a inverting and a non-inverting input and amplifies differential signals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Differential meaning the difference of voltages between </a:t>
            </a:r>
            <a:r>
              <a:rPr lang="en-US" err="1">
                <a:ea typeface="Calibri"/>
                <a:cs typeface="Calibri"/>
              </a:rPr>
              <a:t>vin,p</a:t>
            </a:r>
            <a:r>
              <a:rPr lang="en-US">
                <a:ea typeface="Calibri"/>
                <a:cs typeface="Calibri"/>
              </a:rPr>
              <a:t> and </a:t>
            </a:r>
            <a:r>
              <a:rPr lang="en-US" err="1">
                <a:ea typeface="Calibri"/>
                <a:cs typeface="Calibri"/>
              </a:rPr>
              <a:t>vin,n</a:t>
            </a: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The differential input voltage is vin = </a:t>
            </a:r>
            <a:r>
              <a:rPr lang="en-US" err="1">
                <a:ea typeface="Calibri"/>
                <a:cs typeface="Calibri"/>
              </a:rPr>
              <a:t>Vin,p</a:t>
            </a:r>
            <a:r>
              <a:rPr lang="en-US">
                <a:ea typeface="Calibri"/>
                <a:cs typeface="Calibri"/>
              </a:rPr>
              <a:t> – </a:t>
            </a:r>
            <a:r>
              <a:rPr lang="en-US" err="1">
                <a:ea typeface="Calibri"/>
                <a:cs typeface="Calibri"/>
              </a:rPr>
              <a:t>Vin,n</a:t>
            </a: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Common mode voltages cancel out each other</a:t>
            </a:r>
          </a:p>
          <a:p>
            <a:pPr marL="285750" lvl="1" indent="0">
              <a:buNone/>
            </a:pPr>
            <a:r>
              <a:rPr lang="en-US">
                <a:ea typeface="Calibri"/>
                <a:cs typeface="Calibri"/>
              </a:rPr>
              <a:t>With the same transconductance (for gm,M1 and gm,M2) we get </a:t>
            </a:r>
            <a:r>
              <a:rPr lang="en-US" err="1">
                <a:ea typeface="Calibri"/>
                <a:cs typeface="Calibri"/>
              </a:rPr>
              <a:t>I,out</a:t>
            </a:r>
            <a:r>
              <a:rPr lang="en-US">
                <a:ea typeface="Calibri"/>
                <a:cs typeface="Calibri"/>
              </a:rPr>
              <a:t> = </a:t>
            </a:r>
            <a:r>
              <a:rPr lang="en-US" err="1">
                <a:ea typeface="Calibri"/>
                <a:cs typeface="Calibri"/>
              </a:rPr>
              <a:t>iout,p</a:t>
            </a:r>
            <a:r>
              <a:rPr lang="en-US">
                <a:ea typeface="Calibri"/>
                <a:cs typeface="Calibri"/>
              </a:rPr>
              <a:t> – </a:t>
            </a:r>
            <a:r>
              <a:rPr lang="en-US" err="1">
                <a:ea typeface="Calibri"/>
                <a:cs typeface="Calibri"/>
              </a:rPr>
              <a:t>iout,n</a:t>
            </a:r>
            <a:r>
              <a:rPr lang="en-US">
                <a:ea typeface="Calibri"/>
                <a:cs typeface="Calibri"/>
              </a:rPr>
              <a:t> = gm*vin</a:t>
            </a:r>
          </a:p>
          <a:p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6" name="Grafik 5" descr="Ein Bild, das Diagramm, Reihe, Schrift enthält.&#10;&#10;KI-generierte Inhalte können fehlerhaft sein.">
            <a:extLst>
              <a:ext uri="{FF2B5EF4-FFF2-40B4-BE49-F238E27FC236}">
                <a16:creationId xmlns:a16="http://schemas.microsoft.com/office/drawing/2014/main" id="{8EFBFA30-46EB-EE66-D3AF-EEA9D27C0C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9636" y="774576"/>
            <a:ext cx="2030031" cy="1940448"/>
          </a:xfrm>
          <a:prstGeom prst="rect">
            <a:avLst/>
          </a:prstGeom>
        </p:spPr>
      </p:pic>
      <p:pic>
        <p:nvPicPr>
          <p:cNvPr id="7" name="Grafik 6" descr="Ein Bild, das Diagramm, Reihe, Plan, technische Zeichnung enthält.&#10;&#10;KI-generierte Inhalte können fehlerhaft sein.">
            <a:extLst>
              <a:ext uri="{FF2B5EF4-FFF2-40B4-BE49-F238E27FC236}">
                <a16:creationId xmlns:a16="http://schemas.microsoft.com/office/drawing/2014/main" id="{1FB15D3E-514E-3304-DD97-AECC7F7AA3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9888" y="2715469"/>
            <a:ext cx="2319065" cy="205161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B330A151-A7FE-1FC2-A24C-322D98145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80145EF-9A30-3068-934E-5F6BE553634E}"/>
              </a:ext>
            </a:extLst>
          </p:cNvPr>
          <p:cNvSpPr txBox="1"/>
          <p:nvPr/>
        </p:nvSpPr>
        <p:spPr>
          <a:xfrm>
            <a:off x="7230717" y="4422912"/>
            <a:ext cx="103532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.Pretl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-ACD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28428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C472B4-CDDE-0D1F-4D86-BC56F215E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03A97CD-9DBB-7164-7A03-D92016E78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F29B2A0-F177-4321-B314-1D733A3222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F39452-1571-AF6A-479A-7B7EA48D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3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6277149-881A-64E7-1275-A23A83E887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8248721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Following pictures show the design of a first order IDSM with our own OTA as the central building blo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OTA was here used as an Integrator and Compar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D-Flip Flop was implemented with NAND and NOR G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 double Pull-Push Stage was used at the output of the 1-Bit Feedback to drive this signal (basically a buff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FDCC53-9304-20ED-9843-C09B9A27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41678088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0991A4-2038-0C76-268A-203ACCDAF6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68F98C5-852E-B16C-F9A5-5B7FB99F9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844AC82-6E41-9DF2-EB30-7036D9662C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8D5CE0-1129-E761-1935-3BDF0EAAB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4</a:t>
            </a:fld>
            <a:endParaRPr lang="de-DE"/>
          </a:p>
        </p:txBody>
      </p:sp>
      <p:pic>
        <p:nvPicPr>
          <p:cNvPr id="8" name="Grafik 7" descr="Ein Bild, das Screenshot, Text, Diagramm enthält.&#10;&#10;KI-generierte Inhalte können fehlerhaft sein.">
            <a:extLst>
              <a:ext uri="{FF2B5EF4-FFF2-40B4-BE49-F238E27FC236}">
                <a16:creationId xmlns:a16="http://schemas.microsoft.com/office/drawing/2014/main" id="{32A9F00C-036E-7914-33B4-FE4EDC3141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558" y="1033680"/>
            <a:ext cx="3845543" cy="3086100"/>
          </a:xfrm>
          <a:prstGeom prst="rect">
            <a:avLst/>
          </a:prstGeom>
        </p:spPr>
      </p:pic>
      <p:pic>
        <p:nvPicPr>
          <p:cNvPr id="9" name="Grafik 8" descr="Ein Bild, das Screenshot, Diagramm, Text enthält.&#10;&#10;KI-generierte Inhalte können fehlerhaft sein.">
            <a:extLst>
              <a:ext uri="{FF2B5EF4-FFF2-40B4-BE49-F238E27FC236}">
                <a16:creationId xmlns:a16="http://schemas.microsoft.com/office/drawing/2014/main" id="{995629F9-AF8D-78BB-3D87-91A4C1061E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5900" y="1034939"/>
            <a:ext cx="2742466" cy="3086100"/>
          </a:xfrm>
          <a:prstGeom prst="rect">
            <a:avLst/>
          </a:prstGeom>
        </p:spPr>
      </p:pic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87A8ACAA-9342-51B1-3E25-77A0189E4F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92B9042-D82C-2926-12D4-7ED7FCCF9796}"/>
              </a:ext>
            </a:extLst>
          </p:cNvPr>
          <p:cNvSpPr txBox="1"/>
          <p:nvPr/>
        </p:nvSpPr>
        <p:spPr>
          <a:xfrm>
            <a:off x="1681369" y="4199281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75F477B-7304-0288-FD2C-74146E20AF0F}"/>
              </a:ext>
            </a:extLst>
          </p:cNvPr>
          <p:cNvSpPr txBox="1"/>
          <p:nvPr/>
        </p:nvSpPr>
        <p:spPr>
          <a:xfrm>
            <a:off x="6369325" y="4199281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32642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94C3B-3293-D03C-945D-8445E2DF7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29955CC-C329-6D2B-784F-759238485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1BCA27B-5D33-FB70-8F1B-F808F18A43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613D59-96B7-3891-8C6A-D1DAB3C2E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5</a:t>
            </a:fld>
            <a:endParaRPr lang="de-DE"/>
          </a:p>
        </p:txBody>
      </p:sp>
      <p:pic>
        <p:nvPicPr>
          <p:cNvPr id="6" name="Grafik 5" descr="Ein Bild, das Screenshot, Text, Diagramm enthält.&#10;&#10;KI-generierte Inhalte können fehlerhaft sein.">
            <a:extLst>
              <a:ext uri="{FF2B5EF4-FFF2-40B4-BE49-F238E27FC236}">
                <a16:creationId xmlns:a16="http://schemas.microsoft.com/office/drawing/2014/main" id="{8C0A964B-0EB1-9FCE-9FA2-D156C87B55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864" y="1007993"/>
            <a:ext cx="3438360" cy="30861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0348E23-6B73-F99D-BE64-1A8855BB08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7750" y="1395360"/>
            <a:ext cx="4572000" cy="2361063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85023300-E154-D397-4675-E1F3C67D1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8A7F236-64F9-C35F-499B-AB3A29CB92A5}"/>
              </a:ext>
            </a:extLst>
          </p:cNvPr>
          <p:cNvSpPr txBox="1"/>
          <p:nvPr/>
        </p:nvSpPr>
        <p:spPr>
          <a:xfrm>
            <a:off x="1416326" y="4190998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4FF0024-9AF5-90B9-F449-5BD06E312356}"/>
              </a:ext>
            </a:extLst>
          </p:cNvPr>
          <p:cNvSpPr txBox="1"/>
          <p:nvPr/>
        </p:nvSpPr>
        <p:spPr>
          <a:xfrm>
            <a:off x="5714999" y="4190998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35511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4CB2A7-677C-30CC-84F6-34DF74B45A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F888738-7222-8087-51D9-9A2DA6749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AF7169-AD98-1A78-7B53-2C72BA1CA6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10917F-1891-3344-F5A6-EE6AF291A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6</a:t>
            </a:fld>
            <a:endParaRPr lang="de-DE"/>
          </a:p>
        </p:txBody>
      </p:sp>
      <p:pic>
        <p:nvPicPr>
          <p:cNvPr id="6" name="Grafik 5" descr="Ein Bild, das Screenshot, Diagramm, Text enthält.&#10;&#10;KI-generierte Inhalte können fehlerhaft sein.">
            <a:extLst>
              <a:ext uri="{FF2B5EF4-FFF2-40B4-BE49-F238E27FC236}">
                <a16:creationId xmlns:a16="http://schemas.microsoft.com/office/drawing/2014/main" id="{F61055D3-A0AE-7CB4-085F-F64E4BB538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9438" y="808896"/>
            <a:ext cx="3760195" cy="3534618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3AD290B6-7709-01E5-7A02-8AC55FC38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EB84DA0-F7CD-AA6E-0E11-762CEF8C1D29}"/>
              </a:ext>
            </a:extLst>
          </p:cNvPr>
          <p:cNvSpPr txBox="1"/>
          <p:nvPr/>
        </p:nvSpPr>
        <p:spPr>
          <a:xfrm>
            <a:off x="3809999" y="4447759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115081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66104C-D60C-75A0-6B2C-755B228B0E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9618A13-04F0-2A49-1BB7-EA320A33C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C Level – </a:t>
            </a:r>
            <a:r>
              <a:rPr lang="de-DE" err="1">
                <a:solidFill>
                  <a:schemeClr val="lt2"/>
                </a:solidFill>
              </a:rPr>
              <a:t>xschem</a:t>
            </a:r>
            <a:r>
              <a:rPr lang="de-DE">
                <a:solidFill>
                  <a:schemeClr val="lt2"/>
                </a:solidFill>
              </a:rPr>
              <a:t> and </a:t>
            </a:r>
            <a:r>
              <a:rPr lang="de-DE" err="1">
                <a:solidFill>
                  <a:schemeClr val="lt2"/>
                </a:solidFill>
              </a:rPr>
              <a:t>ngspice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03EE250-F06B-8DE1-E395-315F4947EE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E58538-0980-D5A1-CFC8-DD8629477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7</a:t>
            </a:fld>
            <a:endParaRPr lang="de-DE"/>
          </a:p>
        </p:txBody>
      </p:sp>
      <p:pic>
        <p:nvPicPr>
          <p:cNvPr id="7" name="Grafik 6" descr="Ein Bild, das Text, Screenshot, Diagramm, Software enthält.&#10;&#10;KI-generierte Inhalte können fehlerhaft sein.">
            <a:extLst>
              <a:ext uri="{FF2B5EF4-FFF2-40B4-BE49-F238E27FC236}">
                <a16:creationId xmlns:a16="http://schemas.microsoft.com/office/drawing/2014/main" id="{03A230AE-1EB9-0B4D-C319-296C338BEE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156" y="1030115"/>
            <a:ext cx="4048001" cy="30861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FED730E-678E-22AB-06A8-8686532C45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0267" y="1028752"/>
            <a:ext cx="4046220" cy="3086100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B789B264-C409-AC27-49BD-C92AC4A05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7B7D688-81E1-EB29-46D7-A3C183546BEA}"/>
              </a:ext>
            </a:extLst>
          </p:cNvPr>
          <p:cNvSpPr txBox="1"/>
          <p:nvPr/>
        </p:nvSpPr>
        <p:spPr>
          <a:xfrm>
            <a:off x="3909391" y="4224129"/>
            <a:ext cx="151571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xsche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541403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78D3AF-F164-390D-0EF6-AC03ECD096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EC764EB-9A90-4508-AC48-725948BA3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Semiconductor/ASIC </a:t>
            </a:r>
            <a:r>
              <a:rPr lang="de-DE" err="1">
                <a:solidFill>
                  <a:schemeClr val="lt2"/>
                </a:solidFill>
              </a:rPr>
              <a:t>Outloook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B1ADC00-82B2-8710-F389-5FA0D014BE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8F6857-4D07-0EBD-4676-4BD956014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28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3448190-3708-0144-46DA-E13B11DABF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8248721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The next steps in the design of the ADC would include the implementation of the digital filter as well as the decim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dditional circuitry like a I2C interface, MUX, PGA, IO-protection and Level Shifting as well as input Filters and more could be designed and implemented step by ste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The simulations then need to be verified and optimized if necess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fter simulation we would do the layout, i.e. the physical placement and routing in </a:t>
            </a:r>
            <a:r>
              <a:rPr lang="en-US" err="1">
                <a:ea typeface="Calibri"/>
                <a:cs typeface="Calibri"/>
              </a:rPr>
              <a:t>klayout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fter this we would let this IC be manufactured, wire bonding applied, packaged inside the X2QFN Package and soldered onto our </a:t>
            </a:r>
            <a:r>
              <a:rPr lang="en-US" err="1">
                <a:ea typeface="Calibri"/>
                <a:cs typeface="Calibri"/>
              </a:rPr>
              <a:t>Testbo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On the </a:t>
            </a:r>
            <a:r>
              <a:rPr lang="en-US" err="1">
                <a:ea typeface="Calibri"/>
                <a:cs typeface="Calibri"/>
              </a:rPr>
              <a:t>Testboard</a:t>
            </a:r>
            <a:r>
              <a:rPr lang="en-US">
                <a:ea typeface="Calibri"/>
                <a:cs typeface="Calibri"/>
              </a:rPr>
              <a:t> the simulated IC can now be evaluated and verified with measu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endParaRPr lang="en-US">
              <a:ea typeface="Calibri"/>
              <a:cs typeface="Calibri"/>
            </a:endParaRPr>
          </a:p>
          <a:p>
            <a:pPr marL="285750" lvl="1" indent="0">
              <a:buNone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A66B42A-B647-55A5-642B-2D0C3C92A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22579708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19EEB-2781-637C-BB48-20F09C4C7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C3221D-9412-F21B-5719-190E552D9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B509A7-2694-0D76-94C8-28EA59BBF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5DF2A-F84C-5146-544E-026913EA0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DB0C152-2234-EDC2-3758-11A583E8C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Schematic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7" name="Grafik 6" descr="TEAM-EMAA Design - Altium Designer 24.10.1&#10;">
            <a:extLst>
              <a:ext uri="{FF2B5EF4-FFF2-40B4-BE49-F238E27FC236}">
                <a16:creationId xmlns:a16="http://schemas.microsoft.com/office/drawing/2014/main" id="{43E86B40-7F64-4596-9C11-6288C313CD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9817" y="871846"/>
            <a:ext cx="6004366" cy="3558957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A6EBB7A-BA9A-7755-B517-0C407BD669AB}"/>
              </a:ext>
            </a:extLst>
          </p:cNvPr>
          <p:cNvSpPr txBox="1"/>
          <p:nvPr/>
        </p:nvSpPr>
        <p:spPr>
          <a:xfrm>
            <a:off x="3511826" y="4431194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818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645FC3-8C41-6E90-AC0F-B6C011991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C656F36-E7FA-60CE-82B0-F9B3386EB523}"/>
              </a:ext>
            </a:extLst>
          </p:cNvPr>
          <p:cNvSpPr/>
          <p:nvPr/>
        </p:nvSpPr>
        <p:spPr>
          <a:xfrm>
            <a:off x="949668" y="1150058"/>
            <a:ext cx="1292772" cy="129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E9A1AC3-909B-19EF-722C-240C2FB78207}"/>
              </a:ext>
            </a:extLst>
          </p:cNvPr>
          <p:cNvCxnSpPr>
            <a:cxnSpLocks/>
          </p:cNvCxnSpPr>
          <p:nvPr/>
        </p:nvCxnSpPr>
        <p:spPr>
          <a:xfrm flipV="1">
            <a:off x="1459059" y="1526518"/>
            <a:ext cx="310794" cy="485353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958E3AC1-3FED-E61B-4B3D-05F8E1A2D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ystem </a:t>
            </a:r>
            <a:r>
              <a:rPr lang="de-DE" err="1"/>
              <a:t>Overview</a:t>
            </a:r>
            <a:endParaRPr lang="de-DE" err="1">
              <a:ea typeface="Calibri"/>
              <a:cs typeface="Calibri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E454F8-BC48-F79B-E3F0-420EE9FAE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7DA40-A0EB-4237-8B2D-171816BA0640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872EAD-5087-A91D-2357-1072B1D9A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CEMS, Erdem Agfirat ©H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EEFFFA-11ED-12B9-1EBF-EDED1E107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E6EB566-F85C-70E0-7A20-2D78200E42E2}"/>
              </a:ext>
            </a:extLst>
          </p:cNvPr>
          <p:cNvSpPr/>
          <p:nvPr/>
        </p:nvSpPr>
        <p:spPr>
          <a:xfrm>
            <a:off x="7056339" y="1150058"/>
            <a:ext cx="1292772" cy="129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0C9881-570D-2D6B-0A65-D336FC461F24}"/>
              </a:ext>
            </a:extLst>
          </p:cNvPr>
          <p:cNvSpPr/>
          <p:nvPr/>
        </p:nvSpPr>
        <p:spPr>
          <a:xfrm>
            <a:off x="4378978" y="1150058"/>
            <a:ext cx="1070454" cy="129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sp>
        <p:nvSpPr>
          <p:cNvPr id="26" name="Flowchart: Extract 25">
            <a:extLst>
              <a:ext uri="{FF2B5EF4-FFF2-40B4-BE49-F238E27FC236}">
                <a16:creationId xmlns:a16="http://schemas.microsoft.com/office/drawing/2014/main" id="{B1DE78AF-31BE-100F-DAE9-D3967A86D823}"/>
              </a:ext>
            </a:extLst>
          </p:cNvPr>
          <p:cNvSpPr/>
          <p:nvPr/>
        </p:nvSpPr>
        <p:spPr>
          <a:xfrm rot="16200000">
            <a:off x="3465768" y="1530464"/>
            <a:ext cx="1297537" cy="536726"/>
          </a:xfrm>
          <a:prstGeom prst="flowChartExtra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283D7FD-F20F-77B1-D502-F89CB94EBF91}"/>
              </a:ext>
            </a:extLst>
          </p:cNvPr>
          <p:cNvCxnSpPr>
            <a:cxnSpLocks/>
          </p:cNvCxnSpPr>
          <p:nvPr/>
        </p:nvCxnSpPr>
        <p:spPr>
          <a:xfrm>
            <a:off x="1596049" y="1854841"/>
            <a:ext cx="0" cy="3867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65FBCB2-0684-8279-E37E-22EE1142AB78}"/>
              </a:ext>
            </a:extLst>
          </p:cNvPr>
          <p:cNvCxnSpPr>
            <a:cxnSpLocks/>
          </p:cNvCxnSpPr>
          <p:nvPr/>
        </p:nvCxnSpPr>
        <p:spPr>
          <a:xfrm>
            <a:off x="1596047" y="1351320"/>
            <a:ext cx="0" cy="3867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6C2202C-A2A7-B441-498F-9A8872097FBE}"/>
              </a:ext>
            </a:extLst>
          </p:cNvPr>
          <p:cNvCxnSpPr>
            <a:cxnSpLocks/>
          </p:cNvCxnSpPr>
          <p:nvPr/>
        </p:nvCxnSpPr>
        <p:spPr>
          <a:xfrm>
            <a:off x="1459062" y="1854841"/>
            <a:ext cx="27397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66B8916-E0A0-A2F8-3B4D-078973D23233}"/>
              </a:ext>
            </a:extLst>
          </p:cNvPr>
          <p:cNvCxnSpPr>
            <a:cxnSpLocks/>
          </p:cNvCxnSpPr>
          <p:nvPr/>
        </p:nvCxnSpPr>
        <p:spPr>
          <a:xfrm>
            <a:off x="1459059" y="1741243"/>
            <a:ext cx="27397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BFBBD834-4605-9FD5-E90C-CEFACDC1D250}"/>
              </a:ext>
            </a:extLst>
          </p:cNvPr>
          <p:cNvSpPr txBox="1"/>
          <p:nvPr/>
        </p:nvSpPr>
        <p:spPr>
          <a:xfrm>
            <a:off x="678635" y="2091178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400" b="1">
                <a:solidFill>
                  <a:schemeClr val="bg1"/>
                </a:solidFill>
              </a:rPr>
              <a:t>ACC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7FAB567-F954-A60A-41E8-BED85540B6FD}"/>
              </a:ext>
            </a:extLst>
          </p:cNvPr>
          <p:cNvSpPr txBox="1"/>
          <p:nvPr/>
        </p:nvSpPr>
        <p:spPr>
          <a:xfrm>
            <a:off x="4252846" y="1611592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400" b="1">
                <a:solidFill>
                  <a:schemeClr val="bg1"/>
                </a:solidFill>
              </a:rPr>
              <a:t>ADC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F596506-7B08-1B2C-35A0-F56B97094C9F}"/>
              </a:ext>
            </a:extLst>
          </p:cNvPr>
          <p:cNvSpPr txBox="1"/>
          <p:nvPr/>
        </p:nvSpPr>
        <p:spPr>
          <a:xfrm>
            <a:off x="7185559" y="1611592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2400" b="1">
                <a:solidFill>
                  <a:schemeClr val="bg1"/>
                </a:solidFill>
              </a:rPr>
              <a:t>MCU</a:t>
            </a:r>
            <a:endParaRPr lang="en-US"/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F255BDF-51FB-BC24-BEA3-05F76EFA9E93}"/>
              </a:ext>
            </a:extLst>
          </p:cNvPr>
          <p:cNvCxnSpPr>
            <a:stCxn id="14" idx="3"/>
            <a:endCxn id="26" idx="0"/>
          </p:cNvCxnSpPr>
          <p:nvPr/>
        </p:nvCxnSpPr>
        <p:spPr>
          <a:xfrm>
            <a:off x="2242440" y="1796258"/>
            <a:ext cx="1603734" cy="2569"/>
          </a:xfrm>
          <a:prstGeom prst="straightConnector1">
            <a:avLst/>
          </a:prstGeom>
          <a:ln>
            <a:solidFill>
              <a:srgbClr val="0A558C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30B841AB-50F4-EBCB-5642-ADEED19AC454}"/>
              </a:ext>
            </a:extLst>
          </p:cNvPr>
          <p:cNvCxnSpPr>
            <a:cxnSpLocks/>
            <a:stCxn id="23" idx="3"/>
            <a:endCxn id="15" idx="1"/>
          </p:cNvCxnSpPr>
          <p:nvPr/>
        </p:nvCxnSpPr>
        <p:spPr>
          <a:xfrm>
            <a:off x="5449432" y="1796258"/>
            <a:ext cx="1606907" cy="0"/>
          </a:xfrm>
          <a:prstGeom prst="straightConnector1">
            <a:avLst/>
          </a:prstGeom>
          <a:ln>
            <a:solidFill>
              <a:srgbClr val="0A558C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1" name="Titel 1">
            <a:extLst>
              <a:ext uri="{FF2B5EF4-FFF2-40B4-BE49-F238E27FC236}">
                <a16:creationId xmlns:a16="http://schemas.microsoft.com/office/drawing/2014/main" id="{9528340C-2547-8E75-0DB9-04357CF2CEC2}"/>
              </a:ext>
            </a:extLst>
          </p:cNvPr>
          <p:cNvSpPr txBox="1">
            <a:spLocks/>
          </p:cNvSpPr>
          <p:nvPr/>
        </p:nvSpPr>
        <p:spPr bwMode="gray">
          <a:xfrm>
            <a:off x="250825" y="2310203"/>
            <a:ext cx="2418882" cy="7042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200"/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600"/>
              <a:t>Sensor for capturing acceleration data</a:t>
            </a:r>
            <a:endParaRPr lang="en-US" sz="1600">
              <a:ea typeface="Calibri"/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de-DE" sz="1600"/>
              <a:t>ADXL 335</a:t>
            </a:r>
            <a:endParaRPr lang="de-DE" sz="1600">
              <a:ea typeface="Calibri"/>
              <a:cs typeface="Calibri"/>
            </a:endParaRPr>
          </a:p>
          <a:p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</p:txBody>
      </p:sp>
      <p:sp>
        <p:nvSpPr>
          <p:cNvPr id="67" name="Titel 1">
            <a:extLst>
              <a:ext uri="{FF2B5EF4-FFF2-40B4-BE49-F238E27FC236}">
                <a16:creationId xmlns:a16="http://schemas.microsoft.com/office/drawing/2014/main" id="{E4888A92-CF22-148E-2C31-0CCB8C2D9AC7}"/>
              </a:ext>
            </a:extLst>
          </p:cNvPr>
          <p:cNvSpPr txBox="1">
            <a:spLocks/>
          </p:cNvSpPr>
          <p:nvPr/>
        </p:nvSpPr>
        <p:spPr bwMode="gray">
          <a:xfrm>
            <a:off x="3183901" y="2307262"/>
            <a:ext cx="2639198" cy="7042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200"/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600"/>
              <a:t>Converts analog signals from the ADXL into digital values</a:t>
            </a:r>
            <a:endParaRPr lang="en-US" sz="1600">
              <a:ea typeface="Calibri"/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de-DE" sz="1600"/>
              <a:t>ADS 1115</a:t>
            </a:r>
            <a:endParaRPr lang="de-DE" sz="1200"/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de-DE" sz="1200"/>
          </a:p>
        </p:txBody>
      </p:sp>
      <p:sp>
        <p:nvSpPr>
          <p:cNvPr id="68" name="Titel 1">
            <a:extLst>
              <a:ext uri="{FF2B5EF4-FFF2-40B4-BE49-F238E27FC236}">
                <a16:creationId xmlns:a16="http://schemas.microsoft.com/office/drawing/2014/main" id="{D0D9E900-AB9F-21A9-6C15-42A740146001}"/>
              </a:ext>
            </a:extLst>
          </p:cNvPr>
          <p:cNvSpPr txBox="1">
            <a:spLocks/>
          </p:cNvSpPr>
          <p:nvPr/>
        </p:nvSpPr>
        <p:spPr bwMode="gray">
          <a:xfrm>
            <a:off x="5964558" y="2318672"/>
            <a:ext cx="3106230" cy="7042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1200">
              <a:ea typeface="Calibri"/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600"/>
              <a:t>Processing of digital data for filtering, or other computations</a:t>
            </a:r>
            <a:endParaRPr lang="en-US" sz="1600">
              <a:ea typeface="Calibri"/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600"/>
              <a:t>ESP 8266 </a:t>
            </a:r>
            <a:r>
              <a:rPr lang="en-US" sz="1600" i="0">
                <a:effectLst/>
                <a:latin typeface="+mj-lt"/>
              </a:rPr>
              <a:t>μC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89E0067-88AA-E89E-3F17-BD88C3697FD3}"/>
              </a:ext>
            </a:extLst>
          </p:cNvPr>
          <p:cNvSpPr txBox="1"/>
          <p:nvPr/>
        </p:nvSpPr>
        <p:spPr>
          <a:xfrm>
            <a:off x="-116648" y="1642539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200" b="1"/>
              <a:t>Physical data input</a:t>
            </a:r>
            <a:endParaRPr lang="en-US" sz="800" b="1">
              <a:ea typeface="Calibri"/>
              <a:cs typeface="Calibri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8BC65C5-0D1C-9842-BF10-60BA1CB8307A}"/>
              </a:ext>
            </a:extLst>
          </p:cNvPr>
          <p:cNvSpPr txBox="1"/>
          <p:nvPr/>
        </p:nvSpPr>
        <p:spPr>
          <a:xfrm>
            <a:off x="2416232" y="1273207"/>
            <a:ext cx="11244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400" b="1"/>
              <a:t>Analog</a:t>
            </a:r>
            <a:endParaRPr lang="de-DE" sz="1200" b="1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904403D-01F6-7C4B-DA7D-35325768AF6C}"/>
              </a:ext>
            </a:extLst>
          </p:cNvPr>
          <p:cNvSpPr txBox="1"/>
          <p:nvPr/>
        </p:nvSpPr>
        <p:spPr>
          <a:xfrm>
            <a:off x="5690654" y="1197054"/>
            <a:ext cx="112446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b="1"/>
              <a:t>Digital</a:t>
            </a:r>
            <a:br>
              <a:rPr lang="de-DE" b="1"/>
            </a:br>
            <a:r>
              <a:rPr lang="de-DE" b="1"/>
              <a:t>I2C</a:t>
            </a:r>
            <a:endParaRPr lang="de-DE" sz="1050" b="1"/>
          </a:p>
        </p:txBody>
      </p:sp>
    </p:spTree>
    <p:extLst>
      <p:ext uri="{BB962C8B-B14F-4D97-AF65-F5344CB8AC3E}">
        <p14:creationId xmlns:p14="http://schemas.microsoft.com/office/powerpoint/2010/main" val="4354712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01358A-62AC-484F-B088-0587B66E6A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397012-DEAF-8B32-FDA0-CEF3773F9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43BEAC-90D2-7BD9-9864-66FB87CE1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ADB965-E270-D43E-C47A-7A994FB8D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1D3ACA-B667-6D17-3F31-876A9A13F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Schematic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6" name="Grafik 5" descr="Ein Bild, das Text, Diagramm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FA451635-8B35-184A-B88C-7C8EC90148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013" y="775884"/>
            <a:ext cx="5505208" cy="3584497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C583677-B90F-191B-4A14-9FF4B9B5C831}"/>
              </a:ext>
            </a:extLst>
          </p:cNvPr>
          <p:cNvSpPr txBox="1"/>
          <p:nvPr/>
        </p:nvSpPr>
        <p:spPr>
          <a:xfrm>
            <a:off x="3511826" y="4366087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697414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9E290F-B464-0913-E6A7-931819D0B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9DCE67-803F-5D96-1FF4-22856CFD5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BBB0E0-770A-21AA-7648-4A6089D72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B6B5C2-AEDF-8863-10DB-2CE8B6A03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A12302-CCAA-1B45-DAB3-CC774EB4D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Schematic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6" name="Grafik 5" descr="Ein Bild, das Text, Screenshot, Diagramm, Zahl enthält.&#10;&#10;KI-generierte Inhalte können fehlerhaft sein.">
            <a:extLst>
              <a:ext uri="{FF2B5EF4-FFF2-40B4-BE49-F238E27FC236}">
                <a16:creationId xmlns:a16="http://schemas.microsoft.com/office/drawing/2014/main" id="{17849A74-3EDA-098B-85E1-A8D02F98D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6411" y="716700"/>
            <a:ext cx="6091177" cy="371009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557D0168-0425-BCA9-67F5-CF54A1F6E0BE}"/>
              </a:ext>
            </a:extLst>
          </p:cNvPr>
          <p:cNvSpPr txBox="1"/>
          <p:nvPr/>
        </p:nvSpPr>
        <p:spPr>
          <a:xfrm>
            <a:off x="3511826" y="4422911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75300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34964-0176-7908-9F82-317BB72E15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65DED3-B9F4-B3E1-BADB-59122CA9E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688006-D82D-8944-4617-1291F6309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AF4554-0FA7-E221-B0A1-FE9625728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1605825-AF33-8129-FC62-05BB57B60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PCB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7" name="PlaceHolder 2">
            <a:extLst>
              <a:ext uri="{FF2B5EF4-FFF2-40B4-BE49-F238E27FC236}">
                <a16:creationId xmlns:a16="http://schemas.microsoft.com/office/drawing/2014/main" id="{7FC056F5-26D8-B7BF-1F4A-BEDE1A203BF5}"/>
              </a:ext>
            </a:extLst>
          </p:cNvPr>
          <p:cNvSpPr txBox="1">
            <a:spLocks/>
          </p:cNvSpPr>
          <p:nvPr/>
        </p:nvSpPr>
        <p:spPr bwMode="gray">
          <a:xfrm>
            <a:off x="252000" y="1047600"/>
            <a:ext cx="8639640" cy="3599640"/>
          </a:xfrm>
          <a:prstGeom prst="rect">
            <a:avLst/>
          </a:prstGeom>
          <a:noFill/>
          <a:ln w="0">
            <a:noFill/>
          </a:ln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5900" indent="-215900">
              <a:spcBef>
                <a:spcPts val="20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eatures: 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Low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Cost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4 Layer PCB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with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two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inne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groun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planes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Power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oute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instea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of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dedicate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power plane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hort via-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hielde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Analog Traces 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ufficient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pac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between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analog/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ignals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(e.g. 3H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ul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)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USB-C (EU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equirement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)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Locally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manufactured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(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Aisle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, Multi-CB,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LeitOn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)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ESP8266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o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simple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programm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, fast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prototyp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and WiFi Connectivity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eturn/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referenc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Vias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o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Reference-plane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chang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ignals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Debu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LEDs and LEDs on UART-Signal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lines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ully ESD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Protected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Edge-Via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titching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fo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better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EMI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immunity</a:t>
            </a:r>
          </a:p>
          <a:p>
            <a:pPr marL="673100" lvl="1" indent="-215900">
              <a:spcBef>
                <a:spcPts val="200"/>
              </a:spcBef>
              <a:buClr>
                <a:srgbClr val="000000"/>
              </a:buClr>
              <a:buSzPct val="45000"/>
              <a:buFont typeface="Courier New" charset="2"/>
              <a:buChar char="o"/>
              <a:tabLst>
                <a:tab pos="0" algn="l"/>
              </a:tabLst>
            </a:pP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Simulation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of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PDN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Voltag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drop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–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becaus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of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ADC </a:t>
            </a:r>
            <a:r>
              <a:rPr lang="de-DE" sz="1400" spc="-1" err="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Voltage</a:t>
            </a:r>
            <a:r>
              <a:rPr lang="de-DE" sz="1400" spc="-1">
                <a:solidFill>
                  <a:schemeClr val="lt2"/>
                </a:solidFill>
                <a:latin typeface="Calibri"/>
                <a:ea typeface="Calibri"/>
                <a:cs typeface="Calibri"/>
              </a:rPr>
              <a:t> VREF</a:t>
            </a:r>
          </a:p>
        </p:txBody>
      </p:sp>
    </p:spTree>
    <p:extLst>
      <p:ext uri="{BB962C8B-B14F-4D97-AF65-F5344CB8AC3E}">
        <p14:creationId xmlns:p14="http://schemas.microsoft.com/office/powerpoint/2010/main" val="24763801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B480C2-3D23-B0C8-27A5-6C53204F6C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0A225C-71BB-888E-4A26-27E6A8AE46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19C152-A810-4F22-FB42-BE31EBB6FF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C8E0B7-F17B-9281-35F4-D875AE9B0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ADD199-C305-F1BA-9DC6-A82080042F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PCB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10" name="Grafik 9" descr="Ein Bild, das Schaltung, Elektronisches Bauteil, Elektronik, passives Bauelement enthält.&#10;&#10;KI-generierte Inhalte können fehlerhaft sein.">
            <a:extLst>
              <a:ext uri="{FF2B5EF4-FFF2-40B4-BE49-F238E27FC236}">
                <a16:creationId xmlns:a16="http://schemas.microsoft.com/office/drawing/2014/main" id="{A16FEDAC-2A7E-C9DE-7842-5468C51D48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1379" y="758428"/>
            <a:ext cx="5678829" cy="363255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BA40181-278E-FF1E-2BAB-E337C83DC507}"/>
              </a:ext>
            </a:extLst>
          </p:cNvPr>
          <p:cNvSpPr txBox="1"/>
          <p:nvPr/>
        </p:nvSpPr>
        <p:spPr>
          <a:xfrm>
            <a:off x="3511826" y="4389781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734009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F040ED-B658-C5B1-6989-F2FFF4B401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1919C0-B4DC-0602-95AF-0BEF50D39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00194F-C4C1-FCFE-F987-9D213B8FE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9B689C-7054-20FA-FF9E-C3D0BBDD8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2BC5178-2E36-3CB8-2CE4-245FA48AB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- PCB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13" name="Grafik 12" descr="Ein Bild, das Text, Screenshot, Farbigkeit, Schaltung enthält.&#10;&#10;KI-generierte Inhalte können fehlerhaft sein.">
            <a:extLst>
              <a:ext uri="{FF2B5EF4-FFF2-40B4-BE49-F238E27FC236}">
                <a16:creationId xmlns:a16="http://schemas.microsoft.com/office/drawing/2014/main" id="{A8ED2C03-D13F-A5DD-702C-B05464FAD1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9129" y="1285875"/>
            <a:ext cx="4094544" cy="2715228"/>
          </a:xfrm>
          <a:prstGeom prst="rect">
            <a:avLst/>
          </a:prstGeom>
        </p:spPr>
      </p:pic>
      <p:pic>
        <p:nvPicPr>
          <p:cNvPr id="14" name="Grafik 13" descr="Ein Bild, das Text, Karte,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C2252AD5-8C75-A13C-82DC-BCA2BEC466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092" y="1284067"/>
            <a:ext cx="4210291" cy="277117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476A007-F8DA-EF70-093F-48FAAF6A4B42}"/>
              </a:ext>
            </a:extLst>
          </p:cNvPr>
          <p:cNvSpPr txBox="1"/>
          <p:nvPr/>
        </p:nvSpPr>
        <p:spPr>
          <a:xfrm>
            <a:off x="3511826" y="4149585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58872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6C019E-ED8B-6973-B6BC-9C6C78A97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7112BB-118E-750F-B26A-F41E20E2C7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D8E9A8-6A93-0B0B-186F-4AD5DF337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39BC2F-0368-B18F-5399-9520A4572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D1BF68F-F9D3-A633-0C34-96C27A950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– PCB –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Voltage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 Drop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11" name="Grafik 10" descr="Ein Bild, das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6977CE64-FA72-7AA6-B611-B753BB0E8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3169" y="1911632"/>
            <a:ext cx="4174121" cy="2763938"/>
          </a:xfrm>
          <a:prstGeom prst="rect">
            <a:avLst/>
          </a:prstGeom>
        </p:spPr>
      </p:pic>
      <p:pic>
        <p:nvPicPr>
          <p:cNvPr id="12" name="Grafik 11" descr="Ein Bild, das Text, Karte,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C25224B8-D866-D070-389E-DBBC96C08B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196" y="824696"/>
            <a:ext cx="4014969" cy="2662298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ECE6685B-57AD-ADD4-4507-8D215B8795BF}"/>
              </a:ext>
            </a:extLst>
          </p:cNvPr>
          <p:cNvSpPr txBox="1"/>
          <p:nvPr/>
        </p:nvSpPr>
        <p:spPr>
          <a:xfrm>
            <a:off x="4976065" y="827421"/>
            <a:ext cx="3271294" cy="9387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Voltage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drop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could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be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important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for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Vref</a:t>
            </a:r>
          </a:p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Red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= 3.3V</a:t>
            </a:r>
          </a:p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Blue = 3.295V</a:t>
            </a:r>
          </a:p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Simulated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slightly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higher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current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draw!</a:t>
            </a:r>
            <a:endParaRPr lang="de-DE" sz="1400">
              <a:solidFill>
                <a:schemeClr val="bg2"/>
              </a:solidFill>
              <a:ea typeface="Calibri"/>
              <a:cs typeface="Calibri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B808794-4C5A-F83C-7C0D-9A4B581823A2}"/>
              </a:ext>
            </a:extLst>
          </p:cNvPr>
          <p:cNvSpPr txBox="1"/>
          <p:nvPr/>
        </p:nvSpPr>
        <p:spPr>
          <a:xfrm>
            <a:off x="628324" y="3923648"/>
            <a:ext cx="327129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Simulated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ith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PowerAnalyzer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by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Keysight</a:t>
            </a:r>
            <a:endParaRPr lang="de-DE">
              <a:solidFill>
                <a:schemeClr val="bg2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4E52D96-4AA4-6447-0C82-4AEFA8DEFD9D}"/>
              </a:ext>
            </a:extLst>
          </p:cNvPr>
          <p:cNvSpPr txBox="1"/>
          <p:nvPr/>
        </p:nvSpPr>
        <p:spPr>
          <a:xfrm>
            <a:off x="2289250" y="3606498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57928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D8BCE1-B0A4-6F1D-2879-98A2BEA17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4C93ED-58C6-E8D3-4DC2-55E3E9EED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59232E-4CD7-8017-889C-8001C809A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22087-43B4-FD90-E765-B2D9C88F5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BA968E2-5AD8-AD29-D60F-28A878FF8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1">
                <a:solidFill>
                  <a:schemeClr val="lt2"/>
                </a:solidFill>
                <a:latin typeface="Calibri"/>
              </a:rPr>
              <a:t>Implementation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</a:rPr>
              <a:t> 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Hardware – PCB – </a:t>
            </a:r>
            <a:r>
              <a:rPr lang="de-DE" spc="-1" err="1">
                <a:solidFill>
                  <a:schemeClr val="lt2"/>
                </a:solidFill>
                <a:latin typeface="Calibri"/>
              </a:rPr>
              <a:t>Current</a:t>
            </a:r>
            <a:r>
              <a:rPr lang="de-DE" spc="-1">
                <a:solidFill>
                  <a:schemeClr val="lt2"/>
                </a:solidFill>
                <a:latin typeface="Calibri"/>
              </a:rPr>
              <a:t> Density</a:t>
            </a:r>
            <a:endParaRPr lang="de-DE" spc="-1" err="1">
              <a:solidFill>
                <a:schemeClr val="lt2"/>
              </a:solidFill>
              <a:ea typeface="Calibri"/>
              <a:cs typeface="Calibri"/>
            </a:endParaRPr>
          </a:p>
        </p:txBody>
      </p:sp>
      <p:pic>
        <p:nvPicPr>
          <p:cNvPr id="6" name="Grafik 5" descr="Ein Bild, das Screenshot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4D84B047-5A6A-745A-F9FD-108BE95404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1040" y="1828438"/>
            <a:ext cx="4282633" cy="2843152"/>
          </a:xfrm>
          <a:prstGeom prst="rect">
            <a:avLst/>
          </a:prstGeom>
        </p:spPr>
      </p:pic>
      <p:pic>
        <p:nvPicPr>
          <p:cNvPr id="7" name="Grafik 6" descr="Ein Bild, das Text, Karte,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54B76589-C75E-1E11-39B7-9D12C3F596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579" y="871718"/>
            <a:ext cx="4014969" cy="2660369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3B48ED7-A65B-77BB-DAEE-BB3E759F160A}"/>
              </a:ext>
            </a:extLst>
          </p:cNvPr>
          <p:cNvSpPr txBox="1"/>
          <p:nvPr/>
        </p:nvSpPr>
        <p:spPr>
          <a:xfrm>
            <a:off x="4976065" y="986573"/>
            <a:ext cx="327129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Current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nsity: max. ~5A/mm^2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5DC1F3F-ADA1-8657-DEB2-692A20C320B8}"/>
              </a:ext>
            </a:extLst>
          </p:cNvPr>
          <p:cNvSpPr txBox="1"/>
          <p:nvPr/>
        </p:nvSpPr>
        <p:spPr>
          <a:xfrm>
            <a:off x="2145196" y="3644346"/>
            <a:ext cx="212034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,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Altium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 Designer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053920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622495-3F05-CA1E-A213-5A1BA257BE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3D0798E-FECE-90FB-1581-80EC30BCD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mplementation </a:t>
            </a:r>
            <a:r>
              <a:rPr lang="de-DE" err="1">
                <a:solidFill>
                  <a:schemeClr val="lt2"/>
                </a:solidFill>
              </a:rPr>
              <a:t>Testbed</a:t>
            </a:r>
            <a:endParaRPr lang="de-DE" err="1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C9F8AAC-60CE-535F-665D-DAECFD6029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272089-039A-3878-4D6E-4F006E6CA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37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D850A73-A23D-2812-85EB-00B2C8680C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1"/>
            <a:ext cx="8248721" cy="3075316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Soldering IC on our Testbed and taking following measurements with our Delta-Sigma ADC: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Working?                         [Y/N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Sampling Rate                [SPS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Power Consumption      [</a:t>
            </a:r>
            <a:r>
              <a:rPr lang="en-US" err="1">
                <a:ea typeface="Calibri"/>
                <a:cs typeface="Calibri"/>
              </a:rPr>
              <a:t>mW</a:t>
            </a:r>
            <a:r>
              <a:rPr lang="en-US">
                <a:ea typeface="Calibri"/>
                <a:cs typeface="Calibri"/>
              </a:rPr>
              <a:t>/µW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Input Impedance            [MΩ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Output </a:t>
            </a:r>
            <a:r>
              <a:rPr lang="en-US" err="1">
                <a:ea typeface="Calibri"/>
                <a:cs typeface="Calibri"/>
              </a:rPr>
              <a:t>Datarate</a:t>
            </a:r>
            <a:r>
              <a:rPr lang="en-US">
                <a:ea typeface="Calibri"/>
                <a:cs typeface="Calibri"/>
              </a:rPr>
              <a:t>             [SPS/ bit/s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Resolution                       [bits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LSB size                            [µV]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Many more parameters which could be measured but are more difficult to obt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Also creating graphs and testing under different environmental and electrical cases (-40 °C to 125°C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2463E75-EAE0-2334-735E-12EE38979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19889963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6CC28-B7E1-1A35-D522-453BDF2D4E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8EED83D-6A11-E5FF-00B1-A03F2E4EF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mplementation Arduino</a:t>
            </a:r>
            <a:endParaRPr lang="de-DE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0D35070-E431-FCEB-7DC0-7F1E06F8E3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099ACCC-3B79-5FD5-1D44-5AF50FCD1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38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A038357-462D-99AA-C3ED-B5399C08F5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1"/>
            <a:ext cx="8248721" cy="3075316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Arduino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Readout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of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ADS11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Input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of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known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defined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sine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signal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to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achieve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reproducible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measurements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with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custom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A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Code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running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on ESP8266 –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ideally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on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self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designed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Testbed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Later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Extraction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of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single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measured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samples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from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ADS1115 and Team EMAA ADC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for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further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analysis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with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MATLAB and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other</a:t>
            </a:r>
            <a:r>
              <a:rPr lang="de-DE">
                <a:solidFill>
                  <a:schemeClr val="lt2"/>
                </a:solidFill>
                <a:ea typeface="Calibri"/>
                <a:cs typeface="Calibri"/>
              </a:rPr>
              <a:t> </a:t>
            </a:r>
            <a:r>
              <a:rPr lang="de-DE" err="1">
                <a:solidFill>
                  <a:schemeClr val="lt2"/>
                </a:solidFill>
                <a:ea typeface="Calibri"/>
                <a:cs typeface="Calibri"/>
              </a:rPr>
              <a:t>tools</a:t>
            </a:r>
          </a:p>
          <a:p>
            <a:pPr marL="285750" indent="-285750">
              <a:buChar char="•"/>
            </a:pPr>
            <a:endParaRPr lang="de-DE" sz="1800">
              <a:solidFill>
                <a:schemeClr val="lt2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AA8EBA90-6713-11C4-41AF-5814AB546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</p:spTree>
    <p:extLst>
      <p:ext uri="{BB962C8B-B14F-4D97-AF65-F5344CB8AC3E}">
        <p14:creationId xmlns:p14="http://schemas.microsoft.com/office/powerpoint/2010/main" val="40209350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33B4F1-D224-C09C-D6FB-90DBA41C98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1C248F1-D4B4-9EB5-1CA9-FE2BA47B5C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lt2"/>
                </a:solidFill>
              </a:rPr>
              <a:t>Implementation Arduino</a:t>
            </a:r>
            <a:endParaRPr lang="de-DE">
              <a:solidFill>
                <a:schemeClr val="lt2"/>
              </a:solidFill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84F2DF-AF44-1A67-6165-2C1B8845C8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6D4D9E8-9C8C-D3EC-8018-53471C642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39</a:t>
            </a:fld>
            <a:endParaRPr lang="de-DE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0A59D6E-ADB7-54AD-DA72-3C3458C12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Baydogan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8" name="Grafik 7" descr="Ein Bild, das Text, Schrift, Screenshot enthält.&#10;&#10;KI-generierte Inhalte können fehlerhaft sein.">
            <a:extLst>
              <a:ext uri="{FF2B5EF4-FFF2-40B4-BE49-F238E27FC236}">
                <a16:creationId xmlns:a16="http://schemas.microsoft.com/office/drawing/2014/main" id="{334CB68F-7837-F333-E91D-E0B6842014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422" y="1625371"/>
            <a:ext cx="4572000" cy="1900621"/>
          </a:xfrm>
          <a:prstGeom prst="rect">
            <a:avLst/>
          </a:prstGeom>
        </p:spPr>
      </p:pic>
      <p:pic>
        <p:nvPicPr>
          <p:cNvPr id="9" name="Grafik 8" descr="Ein Bild, das Text, Screenshot, Schrift enthält.&#10;&#10;KI-generierte Inhalte können fehlerhaft sein.">
            <a:extLst>
              <a:ext uri="{FF2B5EF4-FFF2-40B4-BE49-F238E27FC236}">
                <a16:creationId xmlns:a16="http://schemas.microsoft.com/office/drawing/2014/main" id="{2B528517-7328-0D16-4CC8-AD981966F1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5239" y="1624164"/>
            <a:ext cx="4572000" cy="204667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2093BDA3-C318-6134-4B3A-934651370453}"/>
              </a:ext>
            </a:extLst>
          </p:cNvPr>
          <p:cNvSpPr txBox="1"/>
          <p:nvPr/>
        </p:nvSpPr>
        <p:spPr>
          <a:xfrm flipV="1">
            <a:off x="3757578" y="4032896"/>
            <a:ext cx="1342097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[own </a:t>
            </a:r>
            <a:r>
              <a:rPr lang="de-DE" sz="1400" err="1">
                <a:solidFill>
                  <a:schemeClr val="bg2"/>
                </a:solidFill>
                <a:ea typeface="Calibri"/>
                <a:cs typeface="Calibri"/>
              </a:rPr>
              <a:t>work</a:t>
            </a:r>
            <a:r>
              <a:rPr lang="de-DE" sz="1400">
                <a:solidFill>
                  <a:schemeClr val="bg2"/>
                </a:solidFill>
                <a:ea typeface="Calibri"/>
                <a:cs typeface="Calibri"/>
              </a:rPr>
              <a:t>/ARDU]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36210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51978-C23F-B68E-B7CD-1674E75C25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67C650-B3E1-560F-7217-E1A989E2E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A92440-33FB-89C0-CEB9-D839E4F01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276D27E-3D37-A4BC-7CE8-720993DC6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err="1">
                <a:ea typeface="+mj-lt"/>
                <a:cs typeface="+mj-lt"/>
              </a:rPr>
              <a:t>Oversampling</a:t>
            </a:r>
            <a:endParaRPr lang="de-DE" sz="200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C49832D4-A8C3-52E3-08A6-B395AB715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10" name="Grafik 9" descr="Ein Bild, das Reihe, Diagramm, Schrift, Steigung enthält.&#10;&#10;KI-generierte Inhalte können fehlerhaft sein.">
            <a:extLst>
              <a:ext uri="{FF2B5EF4-FFF2-40B4-BE49-F238E27FC236}">
                <a16:creationId xmlns:a16="http://schemas.microsoft.com/office/drawing/2014/main" id="{0B163C35-9FB9-B515-2B10-3FB0810CCD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3258" y="3033301"/>
            <a:ext cx="5253232" cy="132428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 Placeholder 5">
                <a:extLst>
                  <a:ext uri="{FF2B5EF4-FFF2-40B4-BE49-F238E27FC236}">
                    <a16:creationId xmlns:a16="http://schemas.microsoft.com/office/drawing/2014/main" id="{4CAC1E02-7FF7-B6AF-DECA-1F20414DA4E4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6431" y="931910"/>
                <a:ext cx="8558021" cy="3764016"/>
              </a:xfrm>
            </p:spPr>
            <p:txBody>
              <a:bodyPr/>
              <a:lstStyle/>
              <a:p>
                <a:pPr marL="285750" indent="-285750">
                  <a:lnSpc>
                    <a:spcPct val="150000"/>
                  </a:lnSpc>
                  <a:buChar char="•"/>
                </a:pPr>
                <a:r>
                  <a:rPr lang="en-GB" sz="1600">
                    <a:latin typeface="Calibri"/>
                    <a:ea typeface="+mj-lt"/>
                    <a:cs typeface="+mj-lt"/>
                  </a:rPr>
                  <a:t>An ADC operating at a sampling frequenc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GB" sz="1600">
                    <a:latin typeface="Calibri"/>
                    <a:ea typeface="+mj-lt"/>
                    <a:cs typeface="+mj-lt"/>
                  </a:rPr>
                  <a:t> higher than the Nyquist rate is classified as an oversampled ADC.</a:t>
                </a:r>
              </a:p>
              <a:p>
                <a:pPr marL="285750" indent="-285750">
                  <a:lnSpc>
                    <a:spcPct val="150000"/>
                  </a:lnSpc>
                  <a:buChar char="•"/>
                </a:pPr>
                <a:r>
                  <a:rPr lang="de-DE" sz="1600">
                    <a:ea typeface="Calibri"/>
                    <a:cs typeface="Calibri"/>
                  </a:rPr>
                  <a:t>The </a:t>
                </a:r>
                <a:r>
                  <a:rPr lang="de-DE" sz="1600" err="1">
                    <a:ea typeface="Calibri"/>
                    <a:cs typeface="Calibri"/>
                  </a:rPr>
                  <a:t>oversampling</a:t>
                </a:r>
                <a:r>
                  <a:rPr lang="de-DE" sz="1600">
                    <a:ea typeface="Calibri"/>
                    <a:cs typeface="Calibri"/>
                  </a:rPr>
                  <a:t> </a:t>
                </a:r>
                <a:r>
                  <a:rPr lang="de-DE" sz="1600" err="1">
                    <a:ea typeface="Calibri"/>
                    <a:cs typeface="Calibri"/>
                  </a:rPr>
                  <a:t>ratio</a:t>
                </a:r>
                <a:r>
                  <a:rPr lang="de-DE" sz="1600">
                    <a:ea typeface="Calibri"/>
                    <a:cs typeface="Calibri"/>
                  </a:rPr>
                  <a:t> (OSR) </a:t>
                </a:r>
                <a:r>
                  <a:rPr lang="de-DE" sz="1600" err="1">
                    <a:ea typeface="Calibri"/>
                    <a:cs typeface="Calibri"/>
                  </a:rPr>
                  <a:t>quantifies</a:t>
                </a:r>
                <a:r>
                  <a:rPr lang="de-DE" sz="1600">
                    <a:ea typeface="Calibri"/>
                    <a:cs typeface="Calibri"/>
                  </a:rPr>
                  <a:t> </a:t>
                </a:r>
                <a:r>
                  <a:rPr lang="de-DE" sz="1600" err="1">
                    <a:ea typeface="Calibri"/>
                    <a:cs typeface="Calibri"/>
                  </a:rPr>
                  <a:t>how</a:t>
                </a:r>
                <a:r>
                  <a:rPr lang="de-DE" sz="1600">
                    <a:ea typeface="Calibri"/>
                    <a:cs typeface="Calibri"/>
                  </a:rPr>
                  <a:t> </a:t>
                </a:r>
                <a:r>
                  <a:rPr lang="de-DE" sz="1600" err="1">
                    <a:ea typeface="Calibri"/>
                    <a:cs typeface="Calibri"/>
                  </a:rPr>
                  <a:t>much</a:t>
                </a:r>
                <a:r>
                  <a:rPr lang="de-DE" sz="1600">
                    <a:ea typeface="Calibri"/>
                    <a:cs typeface="Calibri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GB" sz="1600">
                    <a:ea typeface="+mj-lt"/>
                    <a:cs typeface="+mj-lt"/>
                  </a:rPr>
                  <a:t> exceeds the Nyquist rate, defined as:</a:t>
                </a: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+mj-lt"/>
                          <a:cs typeface="+mj-lt"/>
                        </a:rPr>
                        <m:t>𝑂𝑆𝑅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+mj-lt"/>
                          <a:cs typeface="+mj-lt"/>
                        </a:rPr>
                        <m:t>=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+mj-lt"/>
                              <a:cs typeface="+mj-lt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  <m:t>𝑠</m:t>
                              </m:r>
                            </m:sub>
                          </m:sSub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+mj-lt"/>
                              <a:cs typeface="+mj-lt"/>
                            </a:rPr>
                            <m:t>2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+mj-lt"/>
                                  <a:cs typeface="+mj-lt"/>
                                </a:rPr>
                                <m:t>𝑚𝑎𝑥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GB" sz="1600">
                  <a:ea typeface="+mj-lt"/>
                  <a:cs typeface="+mj-lt"/>
                </a:endParaRPr>
              </a:p>
            </p:txBody>
          </p:sp>
        </mc:Choice>
        <mc:Fallback xmlns="">
          <p:sp>
            <p:nvSpPr>
              <p:cNvPr id="7" name="Text Placeholder 5">
                <a:extLst>
                  <a:ext uri="{FF2B5EF4-FFF2-40B4-BE49-F238E27FC236}">
                    <a16:creationId xmlns:a16="http://schemas.microsoft.com/office/drawing/2014/main" id="{4CAC1E02-7FF7-B6AF-DECA-1F20414DA4E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6431" y="931910"/>
                <a:ext cx="8558021" cy="3764016"/>
              </a:xfrm>
              <a:blipFill>
                <a:blip r:embed="rId3"/>
                <a:stretch>
                  <a:fillRect l="-13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9D16A7A3-5B5F-D774-A508-D1DD0ABD1259}"/>
              </a:ext>
            </a:extLst>
          </p:cNvPr>
          <p:cNvSpPr txBox="1">
            <a:spLocks/>
          </p:cNvSpPr>
          <p:nvPr/>
        </p:nvSpPr>
        <p:spPr bwMode="gray">
          <a:xfrm>
            <a:off x="3347457" y="4387585"/>
            <a:ext cx="2973092" cy="2783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i="1"/>
              <a:t>Antialiasing </a:t>
            </a:r>
            <a:r>
              <a:rPr lang="de-DE" i="1" err="1"/>
              <a:t>filter</a:t>
            </a:r>
            <a:r>
              <a:rPr lang="de-DE" i="1"/>
              <a:t> </a:t>
            </a:r>
            <a:r>
              <a:rPr lang="de-DE" i="1" err="1"/>
              <a:t>for</a:t>
            </a:r>
            <a:r>
              <a:rPr lang="de-DE" i="1"/>
              <a:t> </a:t>
            </a:r>
            <a:r>
              <a:rPr lang="de-DE" i="1" err="1"/>
              <a:t>oversampling</a:t>
            </a:r>
            <a:r>
              <a:rPr lang="de-DE" i="1"/>
              <a:t> ADCs</a:t>
            </a:r>
          </a:p>
        </p:txBody>
      </p:sp>
    </p:spTree>
    <p:extLst>
      <p:ext uri="{BB962C8B-B14F-4D97-AF65-F5344CB8AC3E}">
        <p14:creationId xmlns:p14="http://schemas.microsoft.com/office/powerpoint/2010/main" val="375220897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72BB83-86E5-124C-3B6C-FF43F77E42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D62046-283B-24D5-D9AC-0CECC0D7F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DS1115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6B82E8F-5458-3977-87DF-A4E143A99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7DA40-A0EB-4237-8B2D-171816BA0640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A0008F0-DB0D-37BA-A1BF-4F26E5AF8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734143A-4F88-672C-0584-AA2A787E25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0</a:t>
            </a:fld>
            <a:endParaRPr lang="de-DE"/>
          </a:p>
        </p:txBody>
      </p:sp>
      <p:pic>
        <p:nvPicPr>
          <p:cNvPr id="6" name="Picture 5" descr="A diagram of a computer&#10;&#10;AI-generated content may be incorrect.">
            <a:extLst>
              <a:ext uri="{FF2B5EF4-FFF2-40B4-BE49-F238E27FC236}">
                <a16:creationId xmlns:a16="http://schemas.microsoft.com/office/drawing/2014/main" id="{5C4AD017-51CC-D827-176E-5FC1DE7FCA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2472" y="1237929"/>
            <a:ext cx="4572000" cy="2667642"/>
          </a:xfrm>
          <a:prstGeom prst="rect">
            <a:avLst/>
          </a:prstGeom>
          <a:ln>
            <a:noFill/>
          </a:ln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436342E-C4D5-DC60-92E4-FB2CD69B0AB0}"/>
              </a:ext>
            </a:extLst>
          </p:cNvPr>
          <p:cNvSpPr txBox="1">
            <a:spLocks/>
          </p:cNvSpPr>
          <p:nvPr/>
        </p:nvSpPr>
        <p:spPr bwMode="gray">
          <a:xfrm>
            <a:off x="253746" y="1083573"/>
            <a:ext cx="3977635" cy="35181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b="1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Specifications</a:t>
            </a: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Dynamic Range (DR): 16 bits</a:t>
            </a:r>
            <a:endParaRPr lang="en-US">
              <a:solidFill>
                <a:srgbClr val="0A558C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Signal Bandwidth (B/</a:t>
            </a:r>
            <a:r>
              <a:rPr lang="en-GB" err="1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bw</a:t>
            </a:r>
            <a:r>
              <a:rPr lang="en-GB">
                <a:solidFill>
                  <a:srgbClr val="0A558C"/>
                </a:solidFill>
                <a:latin typeface="Calibri"/>
                <a:ea typeface="Calibri"/>
                <a:cs typeface="Calibri"/>
              </a:rPr>
              <a:t>): 215 Hz</a:t>
            </a:r>
            <a:endParaRPr lang="en-US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Nyquist Frequency (</a:t>
            </a:r>
            <a:r>
              <a:rPr lang="en-GB" err="1">
                <a:solidFill>
                  <a:srgbClr val="0A558C"/>
                </a:solidFill>
                <a:ea typeface="+mj-lt"/>
                <a:cs typeface="+mj-lt"/>
              </a:rPr>
              <a:t>f</a:t>
            </a:r>
            <a:r>
              <a:rPr lang="en-GB" baseline="-25000" err="1">
                <a:solidFill>
                  <a:srgbClr val="0A558C"/>
                </a:solidFill>
                <a:ea typeface="+mj-lt"/>
                <a:cs typeface="+mj-lt"/>
              </a:rPr>
              <a:t>N</a:t>
            </a: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): 430 Hz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Modulator Order: 2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Sampling Frequency (</a:t>
            </a:r>
            <a:r>
              <a:rPr lang="en-GB" err="1">
                <a:solidFill>
                  <a:srgbClr val="0A558C"/>
                </a:solidFill>
                <a:ea typeface="+mj-lt"/>
                <a:cs typeface="+mj-lt"/>
              </a:rPr>
              <a:t>f</a:t>
            </a:r>
            <a:r>
              <a:rPr lang="en-GB" baseline="-25000" err="1">
                <a:solidFill>
                  <a:srgbClr val="0A558C"/>
                </a:solidFill>
                <a:ea typeface="+mj-lt"/>
                <a:cs typeface="+mj-lt"/>
              </a:rPr>
              <a:t>S</a:t>
            </a:r>
            <a:r>
              <a:rPr lang="en-GB">
                <a:solidFill>
                  <a:srgbClr val="0A558C"/>
                </a:solidFill>
                <a:latin typeface="Calibri"/>
                <a:ea typeface="+mj-lt"/>
                <a:cs typeface="+mj-lt"/>
              </a:rPr>
              <a:t>): 220 kHz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Calibri"/>
                <a:cs typeface="Calibri"/>
              </a:rPr>
              <a:t>Oversampling Ratio OSR (M=</a:t>
            </a:r>
            <a:r>
              <a:rPr lang="en-GB" err="1">
                <a:ea typeface="+mj-lt"/>
                <a:cs typeface="+mj-lt"/>
              </a:rPr>
              <a:t>f</a:t>
            </a:r>
            <a:r>
              <a:rPr lang="en-GB" baseline="-25000" err="1">
                <a:ea typeface="+mj-lt"/>
                <a:cs typeface="+mj-lt"/>
              </a:rPr>
              <a:t>S</a:t>
            </a:r>
            <a:r>
              <a:rPr lang="en-GB">
                <a:ea typeface="Calibri"/>
                <a:cs typeface="Calibri"/>
              </a:rPr>
              <a:t>/</a:t>
            </a:r>
            <a:r>
              <a:rPr lang="en-GB" err="1">
                <a:ea typeface="Calibri"/>
                <a:cs typeface="Calibri"/>
              </a:rPr>
              <a:t>f</a:t>
            </a:r>
            <a:r>
              <a:rPr lang="en-GB" sz="900" baseline="-25000" err="1">
                <a:ea typeface="Calibri"/>
                <a:cs typeface="Calibri"/>
              </a:rPr>
              <a:t>N</a:t>
            </a:r>
            <a:r>
              <a:rPr lang="en-GB">
                <a:ea typeface="Calibri"/>
                <a:cs typeface="Calibri"/>
              </a:rPr>
              <a:t>): 512 Hz</a:t>
            </a:r>
          </a:p>
        </p:txBody>
      </p:sp>
    </p:spTree>
    <p:extLst>
      <p:ext uri="{BB962C8B-B14F-4D97-AF65-F5344CB8AC3E}">
        <p14:creationId xmlns:p14="http://schemas.microsoft.com/office/powerpoint/2010/main" val="1779785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40A7E-A1A2-6485-44E4-6A6FFBC633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ea typeface="Calibri"/>
                <a:cs typeface="Calibri"/>
              </a:rPr>
              <a:t>ADXL335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7C3D21-AAA4-4F78-C916-4FEDB9987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FB2199-E8CA-E830-F9A2-6B1DD1D7F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</a:t>
            </a:r>
            <a:r>
              <a:rPr lang="de-DE">
                <a:ea typeface="+mn-lt"/>
                <a:cs typeface="+mn-lt"/>
              </a:rPr>
              <a:t>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851390-00AB-ADFA-D4E4-BD38269AC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68019B-8A12-0DC0-0F56-E12A61EACA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3984916" cy="359211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b="1">
                <a:ea typeface="+mj-lt"/>
                <a:cs typeface="+mj-lt"/>
              </a:rPr>
              <a:t>Specifications</a:t>
            </a:r>
            <a:endParaRPr lang="en-US" b="1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3-axis (X, Y, Z) </a:t>
            </a:r>
            <a:r>
              <a:rPr lang="en-GB" err="1">
                <a:ea typeface="+mj-lt"/>
                <a:cs typeface="+mj-lt"/>
              </a:rPr>
              <a:t>analog</a:t>
            </a:r>
            <a:r>
              <a:rPr lang="en-GB">
                <a:ea typeface="+mj-lt"/>
                <a:cs typeface="+mj-lt"/>
              </a:rPr>
              <a:t> output accelerometer</a:t>
            </a:r>
            <a:endParaRPr lang="en-US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Operating voltage: 1.8V – 3.6V (Typically 3.3V)</a:t>
            </a: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Analog voltage output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Measures acceleration through capacitive sensing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X, Y, Z axis outputs can be read using ADC</a:t>
            </a:r>
            <a:endParaRPr lang="en-GB"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GB">
                <a:ea typeface="+mj-lt"/>
                <a:cs typeface="+mj-lt"/>
              </a:rPr>
              <a:t>Uses MEMS (Microelectromechanical Systems) technology</a:t>
            </a:r>
            <a:endParaRPr lang="en-GB">
              <a:ea typeface="Calibri"/>
              <a:cs typeface="Calibri"/>
            </a:endParaRPr>
          </a:p>
          <a:p>
            <a:endParaRPr lang="en-GB">
              <a:ea typeface="Calibri"/>
              <a:cs typeface="Calibri"/>
            </a:endParaRPr>
          </a:p>
          <a:p>
            <a:endParaRPr lang="en-GB">
              <a:ea typeface="Calibri"/>
              <a:cs typeface="Calibri"/>
            </a:endParaRPr>
          </a:p>
        </p:txBody>
      </p:sp>
      <p:pic>
        <p:nvPicPr>
          <p:cNvPr id="8" name="Picture 7" descr="A diagram of a device&#10;&#10;AI-generated content may be incorrect.">
            <a:extLst>
              <a:ext uri="{FF2B5EF4-FFF2-40B4-BE49-F238E27FC236}">
                <a16:creationId xmlns:a16="http://schemas.microsoft.com/office/drawing/2014/main" id="{41F07478-3994-49CA-2093-ED3FFBCBEF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3741" y="1446427"/>
            <a:ext cx="4572000" cy="2498541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27807979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7B08D-82AF-9EB1-5DE0-77157D1304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16F8D3-7455-A6C8-8AF5-26BC4AE06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586176-6920-46A2-F845-5BB2BEE04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9E076-C583-E575-0A36-A930D2BF4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5E584D-131E-5317-4A88-CE8CA299E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1800" b="0" strike="noStrike" spc="-1" err="1">
                <a:solidFill>
                  <a:schemeClr val="lt2"/>
                </a:solidFill>
                <a:latin typeface="Calibri"/>
                <a:ea typeface="Microsoft YaHei"/>
              </a:rPr>
              <a:t>Cost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  <a:ea typeface="Microsoft YaHei"/>
              </a:rPr>
              <a:t> calculation</a:t>
            </a:r>
            <a:endParaRPr lang="en-DE">
              <a:solidFill>
                <a:schemeClr val="lt2"/>
              </a:solidFill>
            </a:endParaRPr>
          </a:p>
        </p:txBody>
      </p:sp>
      <p:pic>
        <p:nvPicPr>
          <p:cNvPr id="6" name="Picture 5" descr="A table with numbers and letters&#10;&#10;AI-generated content may be incorrect.">
            <a:extLst>
              <a:ext uri="{FF2B5EF4-FFF2-40B4-BE49-F238E27FC236}">
                <a16:creationId xmlns:a16="http://schemas.microsoft.com/office/drawing/2014/main" id="{9C4B7FFE-86CC-A547-4954-E73C9E53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1653" y="990879"/>
            <a:ext cx="6932163" cy="3582313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95523B49-F312-A481-8A03-D517664754BE}"/>
              </a:ext>
            </a:extLst>
          </p:cNvPr>
          <p:cNvSpPr txBox="1">
            <a:spLocks/>
          </p:cNvSpPr>
          <p:nvPr/>
        </p:nvSpPr>
        <p:spPr bwMode="gray">
          <a:xfrm>
            <a:off x="284163" y="814286"/>
            <a:ext cx="8219313" cy="1748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200" spc="-1">
                <a:solidFill>
                  <a:schemeClr val="lt2"/>
                </a:solidFill>
                <a:latin typeface="Calibri"/>
                <a:ea typeface="Microsoft YaHei"/>
              </a:rPr>
              <a:t>Table: Bill </a:t>
            </a:r>
            <a:r>
              <a:rPr lang="de-DE" sz="1200" spc="-1" err="1">
                <a:solidFill>
                  <a:schemeClr val="lt2"/>
                </a:solidFill>
                <a:latin typeface="Calibri"/>
                <a:ea typeface="Microsoft YaHei"/>
              </a:rPr>
              <a:t>of</a:t>
            </a:r>
            <a:r>
              <a:rPr lang="de-DE" sz="1200" spc="-1">
                <a:solidFill>
                  <a:schemeClr val="lt2"/>
                </a:solidFill>
                <a:latin typeface="Calibri"/>
                <a:ea typeface="Microsoft YaHei"/>
              </a:rPr>
              <a:t> </a:t>
            </a:r>
            <a:r>
              <a:rPr lang="de-DE" sz="1200" spc="-1" err="1">
                <a:solidFill>
                  <a:schemeClr val="lt2"/>
                </a:solidFill>
                <a:latin typeface="Calibri"/>
                <a:ea typeface="Microsoft YaHei"/>
              </a:rPr>
              <a:t>materials</a:t>
            </a:r>
            <a:r>
              <a:rPr lang="de-DE" sz="1200" spc="-1">
                <a:solidFill>
                  <a:schemeClr val="lt2"/>
                </a:solidFill>
                <a:latin typeface="Calibri"/>
                <a:ea typeface="Microsoft YaHei"/>
              </a:rPr>
              <a:t> (Source: </a:t>
            </a:r>
            <a:r>
              <a:rPr lang="de-DE" sz="1200" spc="-1" err="1">
                <a:solidFill>
                  <a:schemeClr val="lt2"/>
                </a:solidFill>
                <a:latin typeface="Calibri"/>
                <a:ea typeface="Microsoft YaHei"/>
              </a:rPr>
              <a:t>digikey</a:t>
            </a:r>
            <a:r>
              <a:rPr lang="de-DE" sz="1200" spc="-1">
                <a:solidFill>
                  <a:schemeClr val="lt2"/>
                </a:solidFill>
                <a:latin typeface="Calibri"/>
                <a:ea typeface="Microsoft YaHei"/>
              </a:rPr>
              <a:t>)</a:t>
            </a:r>
            <a:endParaRPr lang="en-US" sz="1200">
              <a:solidFill>
                <a:schemeClr val="lt2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9547331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9F131C-B0E7-65E2-7302-A938B13F72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49B45F-D96B-11CB-C75E-A858046F9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</a:t>
            </a:r>
            <a:r>
              <a:rPr lang="de-DE">
                <a:ea typeface="+mn-lt"/>
                <a:cs typeface="+mn-lt"/>
              </a:rPr>
              <a:t>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55B156-5C33-58C3-F85C-D9C099FD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045A24-371E-C76B-B757-343DBFFE6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ea typeface="Calibri"/>
                <a:cs typeface="Calibri"/>
              </a:rPr>
              <a:t>Our </a:t>
            </a:r>
            <a:r>
              <a:rPr lang="en-GB" err="1">
                <a:ea typeface="Calibri"/>
                <a:cs typeface="Calibri"/>
              </a:rPr>
              <a:t>Catalog</a:t>
            </a:r>
            <a:endParaRPr lang="en-GB" err="1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E03CFFC-8336-8CF6-4F1A-95911F53F6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6227731"/>
              </p:ext>
            </p:extLst>
          </p:nvPr>
        </p:nvGraphicFramePr>
        <p:xfrm>
          <a:off x="452437" y="952500"/>
          <a:ext cx="8253738" cy="35087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51758">
                  <a:extLst>
                    <a:ext uri="{9D8B030D-6E8A-4147-A177-3AD203B41FA5}">
                      <a16:colId xmlns:a16="http://schemas.microsoft.com/office/drawing/2014/main" val="2000966296"/>
                    </a:ext>
                  </a:extLst>
                </a:gridCol>
                <a:gridCol w="2040860">
                  <a:extLst>
                    <a:ext uri="{9D8B030D-6E8A-4147-A177-3AD203B41FA5}">
                      <a16:colId xmlns:a16="http://schemas.microsoft.com/office/drawing/2014/main" val="770574931"/>
                    </a:ext>
                  </a:extLst>
                </a:gridCol>
                <a:gridCol w="2227999">
                  <a:extLst>
                    <a:ext uri="{9D8B030D-6E8A-4147-A177-3AD203B41FA5}">
                      <a16:colId xmlns:a16="http://schemas.microsoft.com/office/drawing/2014/main" val="3649444413"/>
                    </a:ext>
                  </a:extLst>
                </a:gridCol>
                <a:gridCol w="2133121">
                  <a:extLst>
                    <a:ext uri="{9D8B030D-6E8A-4147-A177-3AD203B41FA5}">
                      <a16:colId xmlns:a16="http://schemas.microsoft.com/office/drawing/2014/main" val="2006636566"/>
                    </a:ext>
                  </a:extLst>
                </a:gridCol>
              </a:tblGrid>
              <a:tr h="11256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6686751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MCU’s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CC3200 LaunchPad</a:t>
                      </a:r>
                      <a:endParaRPr lang="en-GB" sz="1200" b="1" err="1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Hercules TMS570LC43x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NodeMCU ESP826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107397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Microcontroller / SoC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ARM Cortex-M4, 32-bi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ARM Cortex-R5F, 32-bi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ARM Cortex-M4, 32-bi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620514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Target Market / Focus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IoT, wireless application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Functional safety, automotiv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IoT, hobby/home electronic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494740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On-board Wi-Fi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Y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No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Y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293204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Operating Frequency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80 MHz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Up to 300 MHz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80/160 MHz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4468954"/>
                  </a:ext>
                </a:extLst>
              </a:tr>
              <a:tr h="40931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Supply Voltage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5V via USB, on-board 3.3V regulato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5V via USB, on-board 3.3V regulato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5V via USB, on-board 3.3V regulato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2883875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Temperature Range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-20°C to +85°C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-40°C to +125°C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0°C to +40/70°C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82274"/>
                  </a:ext>
                </a:extLst>
              </a:tr>
              <a:tr h="2046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Price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Aptos"/>
                        <a:ea typeface="Aptos" panose="020B000402020202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$ 5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$ 6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€ 10.1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331181"/>
                  </a:ext>
                </a:extLst>
              </a:tr>
              <a:tr h="530252">
                <a:tc>
                  <a:txBody>
                    <a:bodyPr/>
                    <a:lstStyle/>
                    <a:p>
                      <a:pPr lvl="0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GB" sz="1200" b="1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Price with ADXL335 and ADS1115 Breakout Board</a:t>
                      </a:r>
                    </a:p>
                  </a:txBody>
                  <a:tcPr marL="68580" marR="68580" marT="0" marB="0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GB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Aptos"/>
                        </a:rPr>
                        <a:t>€ </a:t>
                      </a: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105</a:t>
                      </a:r>
                    </a:p>
                  </a:txBody>
                  <a:tcPr marL="68580" marR="68580" marT="0" marB="0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GB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Aptos"/>
                        </a:rPr>
                        <a:t>€ </a:t>
                      </a: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120</a:t>
                      </a:r>
                    </a:p>
                  </a:txBody>
                  <a:tcPr marL="68580" marR="68580" marT="0" marB="0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14999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GB" sz="1200" b="0" i="0" u="none" strike="noStrike" noProof="0">
                          <a:solidFill>
                            <a:schemeClr val="tx1"/>
                          </a:solidFill>
                          <a:effectLst/>
                          <a:latin typeface="Aptos"/>
                        </a:rPr>
                        <a:t>€ </a:t>
                      </a: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Aptos"/>
                          <a:ea typeface="Aptos" panose="020B0004020202020204" pitchFamily="34" charset="0"/>
                          <a:cs typeface="Arial"/>
                        </a:rPr>
                        <a:t>70.14</a:t>
                      </a:r>
                    </a:p>
                  </a:txBody>
                  <a:tcPr marL="68580" marR="68580" marT="0" marB="0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9930176"/>
                  </a:ext>
                </a:extLst>
              </a:tr>
            </a:tbl>
          </a:graphicData>
        </a:graphic>
      </p:graphicFrame>
      <p:pic>
        <p:nvPicPr>
          <p:cNvPr id="9" name="Picture 8" descr="A red circuit board with many small components&#10;&#10;AI-generated content may be incorrect.">
            <a:extLst>
              <a:ext uri="{FF2B5EF4-FFF2-40B4-BE49-F238E27FC236}">
                <a16:creationId xmlns:a16="http://schemas.microsoft.com/office/drawing/2014/main" id="{E3A669BB-EE62-ACCA-C756-8E6678B2AF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2688" y="985837"/>
            <a:ext cx="1738313" cy="1052513"/>
          </a:xfrm>
          <a:prstGeom prst="rect">
            <a:avLst/>
          </a:prstGeom>
        </p:spPr>
      </p:pic>
      <p:pic>
        <p:nvPicPr>
          <p:cNvPr id="10" name="Picture 9" descr="A red circuit board with black and white components&#10;&#10;AI-generated content may be incorrect.">
            <a:extLst>
              <a:ext uri="{FF2B5EF4-FFF2-40B4-BE49-F238E27FC236}">
                <a16:creationId xmlns:a16="http://schemas.microsoft.com/office/drawing/2014/main" id="{1DEA59C2-5800-D4D0-B253-B47A042000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5637" y="985837"/>
            <a:ext cx="2022475" cy="1052513"/>
          </a:xfrm>
          <a:prstGeom prst="rect">
            <a:avLst/>
          </a:prstGeom>
        </p:spPr>
      </p:pic>
      <p:pic>
        <p:nvPicPr>
          <p:cNvPr id="11" name="Picture 10" descr="A black and silver electronic device&#10;&#10;AI-generated content may be incorrect.">
            <a:extLst>
              <a:ext uri="{FF2B5EF4-FFF2-40B4-BE49-F238E27FC236}">
                <a16:creationId xmlns:a16="http://schemas.microsoft.com/office/drawing/2014/main" id="{C4EC7B66-8D43-18B4-A291-90C46FB8A6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9575" y="962026"/>
            <a:ext cx="1744663" cy="1084262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FB3FEB0-C318-6344-6C75-A66AEE92B6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114586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6CC5C3-52A7-4B0F-29F2-DF75AB996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2A0960-1372-B2CE-2124-8D8504D2B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EF435D-51C3-18DF-5D29-9B2C76AF1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4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76BB9E2-3195-DBF5-112C-BCBE735AA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ferenc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13A552-C438-0F8B-90A9-75C2C12186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Meiners]: </a:t>
            </a:r>
            <a:r>
              <a:rPr lang="de-DE" err="1">
                <a:ea typeface="Calibri"/>
                <a:cs typeface="Calibri"/>
              </a:rPr>
              <a:t>M.Meiners</a:t>
            </a:r>
            <a:r>
              <a:rPr lang="de-DE">
                <a:ea typeface="Calibri"/>
                <a:cs typeface="Calibri"/>
              </a:rPr>
              <a:t>, </a:t>
            </a:r>
            <a:r>
              <a:rPr lang="de-DE" err="1">
                <a:ea typeface="Calibri"/>
                <a:cs typeface="Calibri"/>
              </a:rPr>
              <a:t>Lecture</a:t>
            </a:r>
            <a:r>
              <a:rPr lang="de-DE">
                <a:ea typeface="Calibri"/>
                <a:cs typeface="Calibri"/>
              </a:rPr>
              <a:t> Slides, </a:t>
            </a:r>
            <a:r>
              <a:rPr lang="de-DE">
                <a:ea typeface="+mj-lt"/>
                <a:cs typeface="+mj-lt"/>
              </a:rPr>
              <a:t>https://aulis.hs-bremen.de/ilias.php?baseClass=ilrepositorygui&amp;cmd=view&amp;ref_id=939269, 04.02.2025</a:t>
            </a: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CMOS Sigma-Delta Converters], CMOS SD Converters: </a:t>
            </a:r>
            <a:r>
              <a:rPr lang="de-DE" err="1">
                <a:ea typeface="Calibri"/>
                <a:cs typeface="Calibri"/>
              </a:rPr>
              <a:t>Practical</a:t>
            </a:r>
            <a:r>
              <a:rPr lang="de-DE">
                <a:ea typeface="Calibri"/>
                <a:cs typeface="Calibri"/>
              </a:rPr>
              <a:t> Design Guide, de la Rosa, del Rio, </a:t>
            </a:r>
            <a:r>
              <a:rPr lang="de-DE">
                <a:ea typeface="+mj-lt"/>
                <a:cs typeface="+mj-lt"/>
              </a:rPr>
              <a:t>https://onlinelibrary.wiley.com/doi/book/10.1002/9781118569238, 04.02.2025</a:t>
            </a:r>
            <a:endParaRPr lang="en-US"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HOROWITZ]: </a:t>
            </a:r>
            <a:r>
              <a:rPr lang="de-DE">
                <a:ea typeface="+mj-lt"/>
                <a:cs typeface="+mj-lt"/>
              </a:rPr>
              <a:t>Horowitz, P., &amp; Hill, W. (2015), The Art </a:t>
            </a:r>
            <a:r>
              <a:rPr lang="de-DE" err="1">
                <a:ea typeface="+mj-lt"/>
                <a:cs typeface="+mj-lt"/>
              </a:rPr>
              <a:t>of</a:t>
            </a:r>
            <a:r>
              <a:rPr lang="de-DE">
                <a:ea typeface="+mj-lt"/>
                <a:cs typeface="+mj-lt"/>
              </a:rPr>
              <a:t> Electronics, Cambridge University Press, 06.02.2025</a:t>
            </a:r>
            <a:endParaRPr lang="de-DE">
              <a:latin typeface="Calibri"/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BONNIE]: </a:t>
            </a:r>
            <a:r>
              <a:rPr lang="de-DE" err="1">
                <a:ea typeface="Calibri"/>
                <a:cs typeface="Calibri"/>
              </a:rPr>
              <a:t>B.Baker</a:t>
            </a:r>
            <a:r>
              <a:rPr lang="de-DE">
                <a:ea typeface="Calibri"/>
                <a:cs typeface="Calibri"/>
              </a:rPr>
              <a:t>, </a:t>
            </a:r>
            <a:r>
              <a:rPr lang="de-DE" err="1">
                <a:ea typeface="Calibri"/>
                <a:cs typeface="Calibri"/>
              </a:rPr>
              <a:t>How</a:t>
            </a:r>
            <a:r>
              <a:rPr lang="de-DE">
                <a:ea typeface="Calibri"/>
                <a:cs typeface="Calibri"/>
              </a:rPr>
              <a:t> delta-sigma ADCs </a:t>
            </a:r>
            <a:r>
              <a:rPr lang="de-DE" err="1">
                <a:ea typeface="Calibri"/>
                <a:cs typeface="Calibri"/>
              </a:rPr>
              <a:t>work</a:t>
            </a:r>
            <a:r>
              <a:rPr lang="de-DE">
                <a:ea typeface="Calibri"/>
                <a:cs typeface="Calibri"/>
              </a:rPr>
              <a:t>, Part1/2, Texas Instruments, </a:t>
            </a:r>
            <a:r>
              <a:rPr lang="de-DE">
                <a:ea typeface="+mj-lt"/>
                <a:cs typeface="+mj-lt"/>
              </a:rPr>
              <a:t>https://www.ti.com/lit/an/slyt423a/slyt423a.pdf?ts=1739265696913&amp;ref_url=https%253A%252F%252Fwww.google.com%252F, 24.01.2025</a:t>
            </a:r>
            <a:endParaRPr lang="de-DE"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H.PRETL]: </a:t>
            </a:r>
            <a:r>
              <a:rPr lang="de-DE" err="1">
                <a:ea typeface="Calibri"/>
                <a:cs typeface="Calibri"/>
              </a:rPr>
              <a:t>H.Pretl</a:t>
            </a:r>
            <a:r>
              <a:rPr lang="de-DE">
                <a:ea typeface="Calibri"/>
                <a:cs typeface="Calibri"/>
              </a:rPr>
              <a:t>, Michael </a:t>
            </a:r>
            <a:r>
              <a:rPr lang="de-DE" err="1">
                <a:ea typeface="Calibri"/>
                <a:cs typeface="Calibri"/>
              </a:rPr>
              <a:t>Koefinger</a:t>
            </a:r>
            <a:r>
              <a:rPr lang="de-DE">
                <a:ea typeface="Calibri"/>
                <a:cs typeface="Calibri"/>
              </a:rPr>
              <a:t>, (02.02.2025), Analog Circuit Design, Johannes Kepler University, </a:t>
            </a:r>
            <a:r>
              <a:rPr lang="de-DE">
                <a:ea typeface="+mj-lt"/>
                <a:cs typeface="+mj-lt"/>
              </a:rPr>
              <a:t>https://iic-jku.github.io/analog-circuit-design/,</a:t>
            </a:r>
            <a:r>
              <a:rPr lang="de-DE">
                <a:ea typeface="Calibri"/>
                <a:cs typeface="Calibri"/>
              </a:rPr>
              <a:t> 11.02.2025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[ARDU]: Wolfgang Ewald, (06.01.2021), ADS1115 – A/D </a:t>
            </a:r>
            <a:r>
              <a:rPr lang="de-DE" err="1">
                <a:ea typeface="Calibri"/>
                <a:cs typeface="Calibri"/>
              </a:rPr>
              <a:t>converte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mplifier</a:t>
            </a:r>
            <a:r>
              <a:rPr lang="de-DE">
                <a:ea typeface="Calibri"/>
                <a:cs typeface="Calibri"/>
              </a:rPr>
              <a:t>, </a:t>
            </a:r>
            <a:r>
              <a:rPr lang="de-DE">
                <a:ea typeface="+mj-lt"/>
                <a:cs typeface="+mj-lt"/>
              </a:rPr>
              <a:t>https://wolles-elektronikkiste.de/en/ads1115-a-d-converter-with-amplifier</a:t>
            </a:r>
            <a:r>
              <a:rPr lang="de-DE">
                <a:ea typeface="Calibri"/>
                <a:cs typeface="Calibri"/>
              </a:rPr>
              <a:t>, 04.02.2025, </a:t>
            </a:r>
          </a:p>
          <a:p>
            <a:pPr marL="285750" indent="-285750">
              <a:buChar char="•"/>
            </a:pPr>
            <a:endParaRPr lang="de-DE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309903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57CCA0D-0E8D-5F2B-AA1E-596F7CD0C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A57554-7B4A-76DC-2A2D-A1FB2AE87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EA615C-B31F-8F54-F9B4-50B775142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AB772E-BE4A-C346-B01F-10FE142A1F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98187" y="2373162"/>
            <a:ext cx="6156737" cy="401240"/>
          </a:xfrm>
        </p:spPr>
        <p:txBody>
          <a:bodyPr/>
          <a:lstStyle/>
          <a:p>
            <a:r>
              <a:rPr lang="en-GB" sz="3200">
                <a:ea typeface="Calibri"/>
                <a:cs typeface="Calibri"/>
              </a:rPr>
              <a:t>THANK YOU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40446832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469518-4215-56AC-ECD7-BB58379A42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960208-90FB-FE73-6DA6-F7A7DE38B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A136FE-A27C-8CA1-72C8-BBCB33E75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6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989EF13-63BE-3CFA-901B-887AA4015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>
                <a:ea typeface="+mj-lt"/>
                <a:cs typeface="+mj-lt"/>
              </a:rPr>
              <a:t>Spectral</a:t>
            </a:r>
            <a:r>
              <a:rPr lang="de-DE">
                <a:ea typeface="+mj-lt"/>
                <a:cs typeface="+mj-lt"/>
              </a:rPr>
              <a:t> Analysis MATLAB/SIMULINK</a:t>
            </a:r>
            <a:endParaRPr lang="de-DE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64D0AFB5-1520-CBFE-FB6D-4F26F4BCB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3" name="Grafik 2" descr="Ein Bild, das Text, Diagramm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67766AFC-C53C-C0A7-48F2-06D25CA598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001" y="983991"/>
            <a:ext cx="4209053" cy="30861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FFD66FA-1110-4FEF-9140-04DD6377D7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2686" y="984738"/>
            <a:ext cx="4015079" cy="308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61012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EBA662-2C53-4500-BE97-C7F75EFB91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C7B40-C35F-4230-B51C-0B0F02714866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DCE17-BC85-348C-4920-7C44A8D9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44A625-B981-EA33-85A6-8F0870B73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FE46880-0DC7-E404-79E6-5BB20DAD9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ückkopplung als Regelkreis</a:t>
            </a:r>
            <a:endParaRPr lang="en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 Placeholder 5">
                <a:extLst>
                  <a:ext uri="{FF2B5EF4-FFF2-40B4-BE49-F238E27FC236}">
                    <a16:creationId xmlns:a16="http://schemas.microsoft.com/office/drawing/2014/main" id="{2299565B-3252-2097-74C7-6370A3DABD21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60552" y="987574"/>
                <a:ext cx="4448736" cy="3600000"/>
              </a:xfrm>
            </p:spPr>
            <p:txBody>
              <a:bodyPr/>
              <a:lstStyle/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err="1"/>
                  <a:t>Desensitization</a:t>
                </a:r>
                <a:r>
                  <a:rPr lang="de-DE"/>
                  <a:t> </a:t>
                </a:r>
                <a:r>
                  <a:rPr lang="de-DE" err="1"/>
                  <a:t>to</a:t>
                </a:r>
                <a:r>
                  <a:rPr lang="de-DE"/>
                  <a:t> </a:t>
                </a:r>
                <a:r>
                  <a:rPr lang="de-DE" err="1"/>
                  <a:t>active</a:t>
                </a:r>
                <a:r>
                  <a:rPr lang="de-DE"/>
                  <a:t> </a:t>
                </a:r>
                <a:r>
                  <a:rPr lang="de-DE" err="1"/>
                  <a:t>parameters</a:t>
                </a:r>
                <a:endParaRPr lang="de-DE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𝐴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𝑓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𝐴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⋅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𝑜𝑠𝑖𝑡𝑖𝑣𝑒</m:t>
                    </m:r>
                  </m:oMath>
                </a14:m>
                <a:endParaRPr lang="de-DE" b="0">
                  <a:ea typeface="Cambria Math" panose="02040503050406030204" pitchFamily="18" charset="0"/>
                </a:endParaRPr>
              </a:p>
              <a:p>
                <a:pPr marL="466725" lvl="1" indent="-285750">
                  <a:lnSpc>
                    <a:spcPct val="150000"/>
                  </a:lnSpc>
                  <a:buFont typeface="Wingdings" pitchFamily="2" charset="2"/>
                  <a:buChar char="Ø"/>
                </a:pPr>
                <a:r>
                  <a:rPr lang="de-DE">
                    <a:ea typeface="Cambria Math" panose="02040503050406030204" pitchFamily="18" charset="0"/>
                  </a:rPr>
                  <a:t>Wenn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A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⋅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≫1⇒ </m:t>
                    </m:r>
                    <m:f>
                      <m:fPr>
                        <m:ctrlPr>
                          <a:rPr lang="en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b="0">
                  <a:ea typeface="Cambria Math" panose="02040503050406030204" pitchFamily="18" charset="0"/>
                </a:endParaRPr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i="1" err="1">
                    <a:latin typeface="Cambria Math" panose="02040503050406030204" pitchFamily="18" charset="0"/>
                  </a:rPr>
                  <a:t>Improving</a:t>
                </a: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:r>
                  <a:rPr lang="de-DE" i="1" err="1">
                    <a:latin typeface="Cambria Math" panose="02040503050406030204" pitchFamily="18" charset="0"/>
                  </a:rPr>
                  <a:t>the</a:t>
                </a: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:r>
                  <a:rPr lang="de-DE" i="1" err="1">
                    <a:latin typeface="Cambria Math" panose="02040503050406030204" pitchFamily="18" charset="0"/>
                  </a:rPr>
                  <a:t>linearity</a:t>
                </a:r>
                <a:endParaRPr lang="de-DE" i="1">
                  <a:latin typeface="Cambria Math" panose="02040503050406030204" pitchFamily="18" charset="0"/>
                </a:endParaRPr>
              </a:p>
              <a:p>
                <a:pPr marL="523875" lvl="1" indent="-342900">
                  <a:lnSpc>
                    <a:spcPct val="150000"/>
                  </a:lnSpc>
                  <a:buFont typeface="Wingdings" pitchFamily="2" charset="2"/>
                  <a:buChar char="Ø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𝑙</m:t>
                            </m:r>
                          </m:sub>
                        </m:sSub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𝑜𝑓𝑓𝑠𝑒𝑡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Sup>
                      <m:sSub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sSubSup>
                      <m:sSub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</a:rPr>
                      <m:t>…</m:t>
                    </m:r>
                  </m:oMath>
                </a14:m>
                <a:endParaRPr lang="de-DE" i="1">
                  <a:latin typeface="Cambria Math" panose="02040503050406030204" pitchFamily="18" charset="0"/>
                </a:endParaRPr>
              </a:p>
              <a:p>
                <a:pPr marL="523875" lvl="1" indent="-342900">
                  <a:lnSpc>
                    <a:spcPct val="150000"/>
                  </a:lnSpc>
                  <a:buFont typeface="Wingdings" pitchFamily="2" charset="2"/>
                  <a:buChar char="Ø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𝑐𝑙</m:t>
                            </m:r>
                          </m:sub>
                        </m:sSub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𝑓𝑓𝑠𝑒𝑡</m:t>
                            </m:r>
                          </m:sub>
                        </m:sSub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𝜖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…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</m:oMath>
                </a14:m>
                <a:endParaRPr lang="de-DE" i="1">
                  <a:latin typeface="Cambria Math" panose="02040503050406030204" pitchFamily="18" charset="0"/>
                </a:endParaRPr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i="1" err="1">
                    <a:latin typeface="Cambria Math" panose="02040503050406030204" pitchFamily="18" charset="0"/>
                  </a:rPr>
                  <a:t>Improving</a:t>
                </a: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:r>
                  <a:rPr lang="de-DE" i="1" err="1">
                    <a:latin typeface="Cambria Math" panose="02040503050406030204" pitchFamily="18" charset="0"/>
                  </a:rPr>
                  <a:t>the</a:t>
                </a:r>
                <a:r>
                  <a:rPr lang="de-DE" i="1">
                    <a:latin typeface="Cambria Math" panose="02040503050406030204" pitchFamily="18" charset="0"/>
                  </a:rPr>
                  <a:t> </a:t>
                </a:r>
                <a:r>
                  <a:rPr lang="de-DE" i="1" err="1">
                    <a:latin typeface="Cambria Math" panose="02040503050406030204" pitchFamily="18" charset="0"/>
                  </a:rPr>
                  <a:t>bandwidht</a:t>
                </a:r>
                <a:endParaRPr lang="de-DE" i="1">
                  <a:latin typeface="Cambria Math" panose="02040503050406030204" pitchFamily="18" charset="0"/>
                </a:endParaRPr>
              </a:p>
              <a:p>
                <a:pPr marL="523875" lvl="1" indent="-342900">
                  <a:lnSpc>
                    <a:spcPct val="150000"/>
                  </a:lnSpc>
                  <a:buFont typeface="Wingdings" pitchFamily="2" charset="2"/>
                  <a:buChar char="Ø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𝑙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⋅</m:t>
                        </m:r>
                        <m:d>
                          <m:d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⋅</m:t>
                        </m:r>
                        <m:d>
                          <m:d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de-DE" i="1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Text Placeholder 5">
                <a:extLst>
                  <a:ext uri="{FF2B5EF4-FFF2-40B4-BE49-F238E27FC236}">
                    <a16:creationId xmlns:a16="http://schemas.microsoft.com/office/drawing/2014/main" id="{2299565B-3252-2097-74C7-6370A3DABD2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60552" y="987574"/>
                <a:ext cx="4448736" cy="3600000"/>
              </a:xfrm>
              <a:blipFill>
                <a:blip r:embed="rId2"/>
                <a:stretch>
                  <a:fillRect l="-21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957438A2-CCC8-8F5B-61CA-502AA38A1846}"/>
              </a:ext>
            </a:extLst>
          </p:cNvPr>
          <p:cNvCxnSpPr>
            <a:cxnSpLocks/>
          </p:cNvCxnSpPr>
          <p:nvPr/>
        </p:nvCxnSpPr>
        <p:spPr>
          <a:xfrm>
            <a:off x="5169944" y="2742174"/>
            <a:ext cx="369990" cy="72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Flussdiagramm: Verbinder 12">
            <a:extLst>
              <a:ext uri="{FF2B5EF4-FFF2-40B4-BE49-F238E27FC236}">
                <a16:creationId xmlns:a16="http://schemas.microsoft.com/office/drawing/2014/main" id="{2ADD7141-EF7C-FC73-FDA7-A9751C85E29F}"/>
              </a:ext>
            </a:extLst>
          </p:cNvPr>
          <p:cNvSpPr/>
          <p:nvPr/>
        </p:nvSpPr>
        <p:spPr>
          <a:xfrm>
            <a:off x="5539934" y="2584899"/>
            <a:ext cx="287701" cy="314553"/>
          </a:xfrm>
          <a:prstGeom prst="flowChartConnector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DD01AA64-E78C-DC04-D285-DF173F4A1FDF}"/>
              </a:ext>
            </a:extLst>
          </p:cNvPr>
          <p:cNvSpPr txBox="1"/>
          <p:nvPr/>
        </p:nvSpPr>
        <p:spPr>
          <a:xfrm>
            <a:off x="5396733" y="2508112"/>
            <a:ext cx="143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/>
              <a:t>+</a:t>
            </a:r>
            <a:endParaRPr lang="en-DE" sz="1400"/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482B607B-F23D-E743-683C-4E966A9C682F}"/>
              </a:ext>
            </a:extLst>
          </p:cNvPr>
          <p:cNvSpPr txBox="1"/>
          <p:nvPr/>
        </p:nvSpPr>
        <p:spPr>
          <a:xfrm>
            <a:off x="5829740" y="2791730"/>
            <a:ext cx="143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/>
              <a:t>-</a:t>
            </a:r>
            <a:endParaRPr lang="en-DE" sz="140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A654BEB-143D-824D-332C-9E25C8AEA62F}"/>
              </a:ext>
            </a:extLst>
          </p:cNvPr>
          <p:cNvCxnSpPr>
            <a:cxnSpLocks/>
          </p:cNvCxnSpPr>
          <p:nvPr/>
        </p:nvCxnSpPr>
        <p:spPr>
          <a:xfrm flipV="1">
            <a:off x="5683823" y="2899452"/>
            <a:ext cx="0" cy="111406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FDED464-06BF-3710-C7FB-FA83347ED78B}"/>
              </a:ext>
            </a:extLst>
          </p:cNvPr>
          <p:cNvCxnSpPr>
            <a:cxnSpLocks/>
          </p:cNvCxnSpPr>
          <p:nvPr/>
        </p:nvCxnSpPr>
        <p:spPr>
          <a:xfrm>
            <a:off x="5669869" y="4012748"/>
            <a:ext cx="1013309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EF70F9E6-96EE-01D1-E25C-F544C707A514}"/>
              </a:ext>
            </a:extLst>
          </p:cNvPr>
          <p:cNvSpPr/>
          <p:nvPr/>
        </p:nvSpPr>
        <p:spPr>
          <a:xfrm>
            <a:off x="6683178" y="3839810"/>
            <a:ext cx="558574" cy="34587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AB0B59E-5149-AA08-9166-5C71FC70FFE1}"/>
              </a:ext>
            </a:extLst>
          </p:cNvPr>
          <p:cNvSpPr/>
          <p:nvPr/>
        </p:nvSpPr>
        <p:spPr>
          <a:xfrm>
            <a:off x="6634669" y="2569237"/>
            <a:ext cx="558574" cy="34587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de-DE"/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FA314874-9B17-EFAC-EE29-E1F4AA255100}"/>
              </a:ext>
            </a:extLst>
          </p:cNvPr>
          <p:cNvCxnSpPr>
            <a:cxnSpLocks/>
            <a:stCxn id="13" idx="6"/>
          </p:cNvCxnSpPr>
          <p:nvPr/>
        </p:nvCxnSpPr>
        <p:spPr>
          <a:xfrm flipV="1">
            <a:off x="5827635" y="2742174"/>
            <a:ext cx="807034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DEB3F55B-2B85-1798-D949-5F132698AA29}"/>
              </a:ext>
            </a:extLst>
          </p:cNvPr>
          <p:cNvCxnSpPr>
            <a:cxnSpLocks/>
          </p:cNvCxnSpPr>
          <p:nvPr/>
        </p:nvCxnSpPr>
        <p:spPr>
          <a:xfrm>
            <a:off x="7193243" y="2742174"/>
            <a:ext cx="808003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363745A-999A-21D8-E44B-FB97AB94F8E0}"/>
              </a:ext>
            </a:extLst>
          </p:cNvPr>
          <p:cNvCxnSpPr>
            <a:cxnSpLocks/>
          </p:cNvCxnSpPr>
          <p:nvPr/>
        </p:nvCxnSpPr>
        <p:spPr>
          <a:xfrm>
            <a:off x="7990101" y="2730789"/>
            <a:ext cx="10176" cy="1301486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D9FC40D9-A766-B368-CF1A-3AA62516C78F}"/>
              </a:ext>
            </a:extLst>
          </p:cNvPr>
          <p:cNvCxnSpPr>
            <a:cxnSpLocks/>
          </p:cNvCxnSpPr>
          <p:nvPr/>
        </p:nvCxnSpPr>
        <p:spPr>
          <a:xfrm flipH="1">
            <a:off x="7241752" y="4032275"/>
            <a:ext cx="7687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2FC253E4-F3D5-0112-7B38-634260E5B4C6}"/>
              </a:ext>
            </a:extLst>
          </p:cNvPr>
          <p:cNvCxnSpPr>
            <a:cxnSpLocks/>
          </p:cNvCxnSpPr>
          <p:nvPr/>
        </p:nvCxnSpPr>
        <p:spPr>
          <a:xfrm>
            <a:off x="7985924" y="2743753"/>
            <a:ext cx="256044" cy="56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6" name="Flussdiagramm: Verbinder 55">
            <a:extLst>
              <a:ext uri="{FF2B5EF4-FFF2-40B4-BE49-F238E27FC236}">
                <a16:creationId xmlns:a16="http://schemas.microsoft.com/office/drawing/2014/main" id="{F7F0D7FB-9181-1CE1-7523-11470C31B3DF}"/>
              </a:ext>
            </a:extLst>
          </p:cNvPr>
          <p:cNvSpPr/>
          <p:nvPr/>
        </p:nvSpPr>
        <p:spPr>
          <a:xfrm>
            <a:off x="7968648" y="2723556"/>
            <a:ext cx="45719" cy="45719"/>
          </a:xfrm>
          <a:prstGeom prst="flowChartConnector">
            <a:avLst/>
          </a:prstGeom>
          <a:ln/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5608520-FCDB-A9D4-09BF-E161B958552B}"/>
                  </a:ext>
                </a:extLst>
              </p:cNvPr>
              <p:cNvSpPr txBox="1"/>
              <p:nvPr/>
            </p:nvSpPr>
            <p:spPr>
              <a:xfrm>
                <a:off x="5055262" y="2791573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DE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5608520-FCDB-A9D4-09BF-E161B95855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55262" y="2791573"/>
                <a:ext cx="577515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4BCD36C-E53A-D5B0-45B2-03CD98FC1AF8}"/>
                  </a:ext>
                </a:extLst>
              </p:cNvPr>
              <p:cNvSpPr txBox="1"/>
              <p:nvPr/>
            </p:nvSpPr>
            <p:spPr>
              <a:xfrm>
                <a:off x="8001246" y="1504959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</m:oMath>
                  </m:oMathPara>
                </a14:m>
                <a:endParaRPr lang="en-DE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4BCD36C-E53A-D5B0-45B2-03CD98FC1A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01246" y="1504959"/>
                <a:ext cx="577515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20CECEE-BE3F-1703-EA25-35C13E9EABFA}"/>
                  </a:ext>
                </a:extLst>
              </p:cNvPr>
              <p:cNvSpPr txBox="1"/>
              <p:nvPr/>
            </p:nvSpPr>
            <p:spPr>
              <a:xfrm>
                <a:off x="6627112" y="2546256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DE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20CECEE-BE3F-1703-EA25-35C13E9EAB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7112" y="2546256"/>
                <a:ext cx="577515" cy="369332"/>
              </a:xfrm>
              <a:prstGeom prst="rect">
                <a:avLst/>
              </a:prstGeom>
              <a:blipFill>
                <a:blip r:embed="rId5"/>
                <a:stretch>
                  <a:fillRect r="-12632" b="-1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07FBD23-F1BA-B077-8D1C-855266DA27CF}"/>
                  </a:ext>
                </a:extLst>
              </p:cNvPr>
              <p:cNvSpPr txBox="1"/>
              <p:nvPr/>
            </p:nvSpPr>
            <p:spPr>
              <a:xfrm>
                <a:off x="6704631" y="3828081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</m:oMath>
                  </m:oMathPara>
                </a14:m>
                <a:endParaRPr lang="en-DE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07FBD23-F1BA-B077-8D1C-855266DA27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4631" y="3828081"/>
                <a:ext cx="577515" cy="369332"/>
              </a:xfrm>
              <a:prstGeom prst="rect">
                <a:avLst/>
              </a:prstGeom>
              <a:blipFill>
                <a:blip r:embed="rId6"/>
                <a:stretch>
                  <a:fillRect b="-114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F6D5BD85-71F2-1F48-3004-07B8305B3ED3}"/>
                  </a:ext>
                </a:extLst>
              </p:cNvPr>
              <p:cNvSpPr txBox="1"/>
              <p:nvPr/>
            </p:nvSpPr>
            <p:spPr>
              <a:xfrm>
                <a:off x="5729064" y="2575020"/>
                <a:ext cx="996619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𝜖</m:t>
                      </m:r>
                    </m:oMath>
                  </m:oMathPara>
                </a14:m>
                <a:endParaRPr lang="en-DE" sz="1000" err="1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F6D5BD85-71F2-1F48-3004-07B8305B3E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9064" y="2575020"/>
                <a:ext cx="996619" cy="153888"/>
              </a:xfrm>
              <a:prstGeom prst="rect">
                <a:avLst/>
              </a:prstGeom>
              <a:blipFill>
                <a:blip r:embed="rId7"/>
                <a:stretch>
                  <a:fillRect b="-3076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788B3C2-D7B2-2320-F725-6ED4435DB3EF}"/>
                  </a:ext>
                </a:extLst>
              </p:cNvPr>
              <p:cNvSpPr txBox="1"/>
              <p:nvPr/>
            </p:nvSpPr>
            <p:spPr>
              <a:xfrm>
                <a:off x="6369812" y="3849650"/>
                <a:ext cx="31547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de-DE" sz="1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⋅</m:t>
                      </m:r>
                      <m:sSub>
                        <m:sSubPr>
                          <m:ctrlP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</m:oMath>
                  </m:oMathPara>
                </a14:m>
                <a:endParaRPr lang="en-DE" sz="10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788B3C2-D7B2-2320-F725-6ED4435DB3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69812" y="3849650"/>
                <a:ext cx="315471" cy="153888"/>
              </a:xfrm>
              <a:prstGeom prst="rect">
                <a:avLst/>
              </a:prstGeom>
              <a:blipFill>
                <a:blip r:embed="rId8"/>
                <a:stretch>
                  <a:fillRect l="-13462" t="-4000" b="-36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Rechteck 21">
            <a:extLst>
              <a:ext uri="{FF2B5EF4-FFF2-40B4-BE49-F238E27FC236}">
                <a16:creationId xmlns:a16="http://schemas.microsoft.com/office/drawing/2014/main" id="{721FC9A7-0FFC-3FF9-E911-C383CCCD3696}"/>
              </a:ext>
            </a:extLst>
          </p:cNvPr>
          <p:cNvSpPr/>
          <p:nvPr/>
        </p:nvSpPr>
        <p:spPr>
          <a:xfrm>
            <a:off x="6634669" y="1363607"/>
            <a:ext cx="558574" cy="34587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de-DE"/>
          </a:p>
        </p:txBody>
      </p:sp>
      <p:cxnSp>
        <p:nvCxnSpPr>
          <p:cNvPr id="41" name="Gerade Verbindung mit Pfeil 24">
            <a:extLst>
              <a:ext uri="{FF2B5EF4-FFF2-40B4-BE49-F238E27FC236}">
                <a16:creationId xmlns:a16="http://schemas.microsoft.com/office/drawing/2014/main" id="{D549AFA9-DD1A-78EE-DC56-0008D80525F6}"/>
              </a:ext>
            </a:extLst>
          </p:cNvPr>
          <p:cNvCxnSpPr>
            <a:cxnSpLocks/>
          </p:cNvCxnSpPr>
          <p:nvPr/>
        </p:nvCxnSpPr>
        <p:spPr>
          <a:xfrm>
            <a:off x="5168092" y="1536544"/>
            <a:ext cx="146657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2" name="Gerader Verbinder 26">
            <a:extLst>
              <a:ext uri="{FF2B5EF4-FFF2-40B4-BE49-F238E27FC236}">
                <a16:creationId xmlns:a16="http://schemas.microsoft.com/office/drawing/2014/main" id="{36BBCE24-CB4F-9EC3-AB60-752E699A07E3}"/>
              </a:ext>
            </a:extLst>
          </p:cNvPr>
          <p:cNvCxnSpPr>
            <a:cxnSpLocks/>
          </p:cNvCxnSpPr>
          <p:nvPr/>
        </p:nvCxnSpPr>
        <p:spPr>
          <a:xfrm>
            <a:off x="7193243" y="1536544"/>
            <a:ext cx="808003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Gerade Verbindung mit Pfeil 53">
            <a:extLst>
              <a:ext uri="{FF2B5EF4-FFF2-40B4-BE49-F238E27FC236}">
                <a16:creationId xmlns:a16="http://schemas.microsoft.com/office/drawing/2014/main" id="{DDC2D881-37B1-5089-F27E-19E472802D5A}"/>
              </a:ext>
            </a:extLst>
          </p:cNvPr>
          <p:cNvCxnSpPr>
            <a:cxnSpLocks/>
          </p:cNvCxnSpPr>
          <p:nvPr/>
        </p:nvCxnSpPr>
        <p:spPr>
          <a:xfrm>
            <a:off x="7985924" y="1538123"/>
            <a:ext cx="256044" cy="56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50A70D90-B1CF-F674-3039-50963EB81A89}"/>
                  </a:ext>
                </a:extLst>
              </p:cNvPr>
              <p:cNvSpPr txBox="1"/>
              <p:nvPr/>
            </p:nvSpPr>
            <p:spPr>
              <a:xfrm>
                <a:off x="4962419" y="1499542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DE"/>
              </a:p>
            </p:txBody>
          </p:sp>
        </mc:Choice>
        <mc:Fallback xmlns="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50A70D90-B1CF-F674-3039-50963EB81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2419" y="1499542"/>
                <a:ext cx="577515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AA696FD5-6D1D-93CA-CE7D-A31F7F21A6C7}"/>
                  </a:ext>
                </a:extLst>
              </p:cNvPr>
              <p:cNvSpPr txBox="1"/>
              <p:nvPr/>
            </p:nvSpPr>
            <p:spPr>
              <a:xfrm>
                <a:off x="6743934" y="1436056"/>
                <a:ext cx="33868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de-DE" sz="1400" b="0">
                    <a:solidFill>
                      <a:schemeClr val="tx1"/>
                    </a:solidFill>
                  </a:rPr>
                  <a:t>A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</m:t>
                    </m:r>
                    <m:r>
                      <a:rPr lang="de-DE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DE" sz="1400" err="1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AA696FD5-6D1D-93CA-CE7D-A31F7F21A6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3934" y="1436056"/>
                <a:ext cx="338682" cy="215444"/>
              </a:xfrm>
              <a:prstGeom prst="rect">
                <a:avLst/>
              </a:prstGeom>
              <a:blipFill>
                <a:blip r:embed="rId10"/>
                <a:stretch>
                  <a:fillRect l="-32143" t="-28571" r="-23214" b="-5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AFAB947-771B-7B57-CA7F-73CC80AED03B}"/>
                  </a:ext>
                </a:extLst>
              </p:cNvPr>
              <p:cNvSpPr txBox="1"/>
              <p:nvPr/>
            </p:nvSpPr>
            <p:spPr>
              <a:xfrm>
                <a:off x="7858798" y="2791573"/>
                <a:ext cx="57751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</m:oMath>
                  </m:oMathPara>
                </a14:m>
                <a:endParaRPr lang="en-DE"/>
              </a:p>
            </p:txBody>
          </p:sp>
        </mc:Choice>
        <mc:Fallback xmlns=""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AFAB947-771B-7B57-CA7F-73CC80AED0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58798" y="2791573"/>
                <a:ext cx="577515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0" name="TextBox 49">
            <a:extLst>
              <a:ext uri="{FF2B5EF4-FFF2-40B4-BE49-F238E27FC236}">
                <a16:creationId xmlns:a16="http://schemas.microsoft.com/office/drawing/2014/main" id="{E17FCABE-4B5E-FA45-9633-85E0D99CF05D}"/>
              </a:ext>
            </a:extLst>
          </p:cNvPr>
          <p:cNvSpPr txBox="1"/>
          <p:nvPr/>
        </p:nvSpPr>
        <p:spPr>
          <a:xfrm>
            <a:off x="6508396" y="987574"/>
            <a:ext cx="77745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>
                <a:solidFill>
                  <a:schemeClr val="bg2"/>
                </a:solidFill>
              </a:rPr>
              <a:t>Open-loop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20259C6-3C0D-FC1B-981D-7F8504854CF5}"/>
              </a:ext>
            </a:extLst>
          </p:cNvPr>
          <p:cNvSpPr txBox="1"/>
          <p:nvPr/>
        </p:nvSpPr>
        <p:spPr>
          <a:xfrm>
            <a:off x="6480343" y="2245990"/>
            <a:ext cx="86722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>
                <a:solidFill>
                  <a:schemeClr val="bg2"/>
                </a:solidFill>
              </a:rPr>
              <a:t>Closed-loop</a:t>
            </a:r>
          </a:p>
        </p:txBody>
      </p:sp>
    </p:spTree>
    <p:extLst>
      <p:ext uri="{BB962C8B-B14F-4D97-AF65-F5344CB8AC3E}">
        <p14:creationId xmlns:p14="http://schemas.microsoft.com/office/powerpoint/2010/main" val="38589446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20020D-478C-3C58-C29E-3AE9C575C6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F67579-E2A6-6BE4-7AFA-15FF619FA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FBBC76-7838-6D87-DF5D-0903957F9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563624-5F9C-B4A2-272B-3EAC2D3EC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8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3F9E8D8-77B6-E22E-92EB-C88098FE0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Velocity and </a:t>
            </a:r>
            <a:r>
              <a:rPr lang="de-DE" err="1"/>
              <a:t>Acceleration</a:t>
            </a:r>
            <a:r>
              <a:rPr lang="de-DE"/>
              <a:t> – Data Source / Analog</a:t>
            </a:r>
            <a:endParaRPr lang="en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 Placeholder 5">
                <a:extLst>
                  <a:ext uri="{FF2B5EF4-FFF2-40B4-BE49-F238E27FC236}">
                    <a16:creationId xmlns:a16="http://schemas.microsoft.com/office/drawing/2014/main" id="{A1CBB61D-BD8F-A76A-2EC1-B1CD0DDD04B3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2000" y="1047600"/>
                <a:ext cx="8640000" cy="3161329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/>
                  <a:t>Detect </a:t>
                </a:r>
                <a:r>
                  <a:rPr lang="de-DE" sz="1600" err="1"/>
                  <a:t>the</a:t>
                </a:r>
                <a:r>
                  <a:rPr lang="de-DE" sz="1600"/>
                  <a:t> rate </a:t>
                </a:r>
                <a:r>
                  <a:rPr lang="de-DE" sz="1600" err="1"/>
                  <a:t>of</a:t>
                </a:r>
                <a:r>
                  <a:rPr lang="de-DE" sz="1600"/>
                  <a:t> </a:t>
                </a:r>
                <a:r>
                  <a:rPr lang="de-DE" sz="1600" err="1"/>
                  <a:t>change</a:t>
                </a:r>
                <a:r>
                  <a:rPr lang="de-DE" sz="1600"/>
                  <a:t> in </a:t>
                </a:r>
                <a:r>
                  <a:rPr lang="de-DE" sz="1600" err="1"/>
                  <a:t>velocity</a:t>
                </a:r>
                <a:r>
                  <a:rPr lang="de-DE" sz="1600"/>
                  <a:t> and </a:t>
                </a:r>
                <a:r>
                  <a:rPr lang="de-DE" sz="1600" err="1"/>
                  <a:t>can</a:t>
                </a:r>
                <a:r>
                  <a:rPr lang="de-DE" sz="1600"/>
                  <a:t> track </a:t>
                </a:r>
                <a:r>
                  <a:rPr lang="de-DE" sz="1600" err="1"/>
                  <a:t>the</a:t>
                </a:r>
                <a:r>
                  <a:rPr lang="de-DE" sz="1600"/>
                  <a:t> </a:t>
                </a:r>
                <a:r>
                  <a:rPr lang="de-DE" sz="1600" err="1"/>
                  <a:t>position</a:t>
                </a:r>
                <a:r>
                  <a:rPr lang="de-DE" sz="1600"/>
                  <a:t> and </a:t>
                </a:r>
                <a:r>
                  <a:rPr lang="de-DE" sz="1600" err="1"/>
                  <a:t>orientation</a:t>
                </a:r>
                <a:r>
                  <a:rPr lang="de-DE" sz="1600"/>
                  <a:t> </a:t>
                </a:r>
                <a:r>
                  <a:rPr lang="de-DE" sz="1600" err="1"/>
                  <a:t>of</a:t>
                </a:r>
                <a:r>
                  <a:rPr lang="de-DE" sz="1600"/>
                  <a:t> </a:t>
                </a:r>
                <a:r>
                  <a:rPr lang="de-DE" sz="1600" err="1"/>
                  <a:t>moving</a:t>
                </a:r>
                <a:r>
                  <a:rPr lang="de-DE" sz="1600"/>
                  <a:t> </a:t>
                </a:r>
                <a:r>
                  <a:rPr lang="de-DE" sz="1600" err="1"/>
                  <a:t>objects</a:t>
                </a:r>
                <a:endParaRPr lang="de-DE" sz="160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 err="1"/>
                  <a:t>Based</a:t>
                </a:r>
                <a:r>
                  <a:rPr lang="de-DE" sz="1600"/>
                  <a:t> on </a:t>
                </a:r>
                <a:r>
                  <a:rPr lang="de-DE" sz="1600" err="1"/>
                  <a:t>Newton‘s</a:t>
                </a:r>
                <a:r>
                  <a:rPr lang="de-DE" sz="1600"/>
                  <a:t> </a:t>
                </a:r>
                <a:r>
                  <a:rPr lang="de-DE" sz="1600" err="1"/>
                  <a:t>second</a:t>
                </a:r>
                <a:r>
                  <a:rPr lang="de-DE" sz="1600"/>
                  <a:t> </a:t>
                </a:r>
                <a:r>
                  <a:rPr lang="de-DE" sz="1600" err="1"/>
                  <a:t>law</a:t>
                </a:r>
                <a:r>
                  <a:rPr lang="de-DE" sz="160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1600" b="0" i="0" smtClean="0">
                        <a:latin typeface="Cambria Math" panose="02040503050406030204" pitchFamily="18" charset="0"/>
                      </a:rPr>
                      <m:t>F</m:t>
                    </m:r>
                    <m:r>
                      <a:rPr lang="de-DE" sz="1600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de-DE" sz="1600" b="0" i="0" smtClean="0">
                        <a:latin typeface="Cambria Math" panose="02040503050406030204" pitchFamily="18" charset="0"/>
                      </a:rPr>
                      <m:t>ma</m:t>
                    </m:r>
                    <m:r>
                      <a:rPr lang="de-DE" sz="1600" b="0" i="0" smtClean="0">
                        <a:latin typeface="Cambria Math" panose="02040503050406030204" pitchFamily="18" charset="0"/>
                      </a:rPr>
                      <m:t>, </m:t>
                    </m:r>
                  </m:oMath>
                </a14:m>
                <a:r>
                  <a:rPr lang="de-DE" sz="1600" err="1"/>
                  <a:t>where</a:t>
                </a:r>
                <a:r>
                  <a:rPr lang="de-DE" sz="1600"/>
                  <a:t> a </a:t>
                </a:r>
                <a:r>
                  <a:rPr lang="de-DE" sz="1600" err="1"/>
                  <a:t>known</a:t>
                </a:r>
                <a:r>
                  <a:rPr lang="de-DE" sz="1600"/>
                  <a:t> </a:t>
                </a:r>
                <a:r>
                  <a:rPr lang="de-DE" sz="1600" err="1"/>
                  <a:t>mass</a:t>
                </a:r>
                <a:r>
                  <a:rPr lang="de-DE" sz="1600"/>
                  <a:t> (</a:t>
                </a: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sz="1600" err="1"/>
                  <a:t>experiences</a:t>
                </a:r>
                <a:r>
                  <a:rPr lang="de-DE" sz="1600"/>
                  <a:t> a </a:t>
                </a:r>
                <a:r>
                  <a:rPr lang="de-DE" sz="1600" err="1"/>
                  <a:t>force</a:t>
                </a:r>
                <a:r>
                  <a:rPr lang="de-DE" sz="1600"/>
                  <a:t> (</a:t>
                </a: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𝐹</m:t>
                    </m:r>
                  </m:oMath>
                </a14:m>
                <a:r>
                  <a:rPr lang="de-DE" sz="1600"/>
                  <a:t>), </a:t>
                </a:r>
                <a:r>
                  <a:rPr lang="de-DE" sz="1600" err="1"/>
                  <a:t>causing</a:t>
                </a:r>
                <a:r>
                  <a:rPr lang="de-DE" sz="1600"/>
                  <a:t> a </a:t>
                </a:r>
                <a:r>
                  <a:rPr lang="de-DE" sz="1600" err="1"/>
                  <a:t>acceleration</a:t>
                </a:r>
                <a:r>
                  <a:rPr lang="de-DE" sz="1600"/>
                  <a:t> (</a:t>
                </a: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sz="160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/>
                  <a:t>Key Components: </a:t>
                </a:r>
                <a:r>
                  <a:rPr lang="de-DE" sz="1600" err="1"/>
                  <a:t>proof</a:t>
                </a:r>
                <a:r>
                  <a:rPr lang="de-DE" sz="1600"/>
                  <a:t> </a:t>
                </a:r>
                <a:r>
                  <a:rPr lang="de-DE" sz="1600" err="1"/>
                  <a:t>mass</a:t>
                </a:r>
                <a:r>
                  <a:rPr lang="de-DE" sz="1600"/>
                  <a:t>, spring, </a:t>
                </a:r>
                <a:r>
                  <a:rPr lang="de-DE" sz="1600" err="1"/>
                  <a:t>damper</a:t>
                </a:r>
                <a:r>
                  <a:rPr lang="de-DE" sz="1600"/>
                  <a:t> an d </a:t>
                </a:r>
                <a:r>
                  <a:rPr lang="de-DE" sz="1600" err="1"/>
                  <a:t>displacement</a:t>
                </a:r>
                <a:r>
                  <a:rPr lang="de-DE" sz="1600"/>
                  <a:t> </a:t>
                </a:r>
                <a:r>
                  <a:rPr lang="de-DE" sz="1600" err="1"/>
                  <a:t>sensor</a:t>
                </a:r>
                <a:endParaRPr lang="de-DE" sz="160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 err="1"/>
                  <a:t>Types</a:t>
                </a:r>
                <a:r>
                  <a:rPr lang="de-DE" sz="1600"/>
                  <a:t> </a:t>
                </a:r>
                <a:r>
                  <a:rPr lang="de-DE" sz="1600" err="1"/>
                  <a:t>of</a:t>
                </a:r>
                <a:r>
                  <a:rPr lang="de-DE" sz="1600"/>
                  <a:t> </a:t>
                </a:r>
                <a:r>
                  <a:rPr lang="de-DE" sz="1600" err="1"/>
                  <a:t>sensors</a:t>
                </a:r>
                <a:r>
                  <a:rPr lang="de-DE" sz="1600"/>
                  <a:t>: </a:t>
                </a:r>
                <a:r>
                  <a:rPr lang="de-DE" sz="1600" err="1"/>
                  <a:t>Capacitive</a:t>
                </a:r>
                <a:r>
                  <a:rPr lang="de-DE" sz="1600"/>
                  <a:t> Sensors, </a:t>
                </a:r>
                <a:r>
                  <a:rPr lang="de-DE" sz="1600" err="1"/>
                  <a:t>Piezoelectric</a:t>
                </a:r>
                <a:r>
                  <a:rPr lang="de-DE" sz="1600"/>
                  <a:t> </a:t>
                </a:r>
                <a:r>
                  <a:rPr lang="de-DE" sz="1600" err="1"/>
                  <a:t>sensors</a:t>
                </a:r>
                <a:r>
                  <a:rPr lang="de-DE" sz="1600"/>
                  <a:t>, thermal </a:t>
                </a:r>
                <a:r>
                  <a:rPr lang="de-DE" sz="1600" err="1"/>
                  <a:t>sensors</a:t>
                </a:r>
                <a:endParaRPr lang="de-DE" sz="160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600"/>
              </a:p>
            </p:txBody>
          </p:sp>
        </mc:Choice>
        <mc:Fallback xmlns="">
          <p:sp>
            <p:nvSpPr>
              <p:cNvPr id="11" name="Text Placeholder 5">
                <a:extLst>
                  <a:ext uri="{FF2B5EF4-FFF2-40B4-BE49-F238E27FC236}">
                    <a16:creationId xmlns:a16="http://schemas.microsoft.com/office/drawing/2014/main" id="{A1CBB61D-BD8F-A76A-2EC1-B1CD0DDD04B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2000" y="1047600"/>
                <a:ext cx="8640000" cy="3161329"/>
              </a:xfrm>
              <a:blipFill>
                <a:blip r:embed="rId3"/>
                <a:stretch>
                  <a:fillRect l="-1340" t="-21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811FC0CC-1100-B1C8-2E81-1CFD34CF82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7515" y="2571750"/>
            <a:ext cx="3636316" cy="212820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02B94D-56DD-3CE6-BC0D-2851456CB5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3555" y="2713312"/>
            <a:ext cx="3312646" cy="1845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47113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AFA8A-185C-4495-8CE8-6AEAD9AC1992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9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tabilitätsanaly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platzhalter 8">
                <a:extLst>
                  <a:ext uri="{FF2B5EF4-FFF2-40B4-BE49-F238E27FC236}">
                    <a16:creationId xmlns:a16="http://schemas.microsoft.com/office/drawing/2014/main" id="{9A0A0016-0C3E-9DDA-DAAF-6E730E41EBB3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0825" y="930724"/>
                <a:ext cx="4320000" cy="3600000"/>
              </a:xfrm>
            </p:spPr>
            <p:txBody>
              <a:bodyPr/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/>
                  <a:t>Phasenwinke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de-DE"/>
                  <a:t> zu der Frequenz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endParaRPr lang="de-DE" b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/>
                  <a:t>Phasenreserve 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180°− </m:t>
                    </m:r>
                    <m:d>
                      <m:dPr>
                        <m:begChr m:val="|"/>
                        <m:endChr m:val="|"/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𝜑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𝐾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/>
                  <a:t> 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/>
                  <a:t>Für 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𝜑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𝐾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gt;180°</m:t>
                    </m:r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ist</m:t>
                    </m:r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die</m:t>
                    </m:r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Phasenreserve</m:t>
                    </m:r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negativ</m:t>
                    </m:r>
                  </m:oMath>
                </a14:m>
                <a:endParaRPr lang="de-DE" b="0">
                  <a:ea typeface="Cambria Math" panose="02040503050406030204" pitchFamily="18" charset="0"/>
                </a:endParaRPr>
              </a:p>
              <a:p>
                <a:pPr marL="466725" lvl="1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de-DE"/>
                  <a:t>Schaltung ist Instabil und beginnt selbsterregt zu schwingen</a:t>
                </a:r>
                <a:endParaRPr lang="de-DE" b="0">
                  <a:ea typeface="Cambria Math" panose="02040503050406030204" pitchFamily="18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>
                    <a:ea typeface="Cambria Math" panose="02040503050406030204" pitchFamily="18" charset="0"/>
                  </a:rPr>
                  <a:t>Gutes Einschwingverhalten erfordert einen Wert für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de-DE">
                    <a:ea typeface="Cambria Math" panose="02040503050406030204" pitchFamily="18" charset="0"/>
                  </a:rPr>
                  <a:t> zwischen 60°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 </m:t>
                    </m:r>
                  </m:oMath>
                </a14:m>
                <a:r>
                  <a:rPr lang="de-DE">
                    <a:ea typeface="Cambria Math" panose="02040503050406030204" pitchFamily="18" charset="0"/>
                  </a:rPr>
                  <a:t>80°</a:t>
                </a:r>
                <a:endParaRPr lang="de-DE" b="0"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9" name="Textplatzhalter 8">
                <a:extLst>
                  <a:ext uri="{FF2B5EF4-FFF2-40B4-BE49-F238E27FC236}">
                    <a16:creationId xmlns:a16="http://schemas.microsoft.com/office/drawing/2014/main" id="{9A0A0016-0C3E-9DDA-DAAF-6E730E41EBB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0825" y="930724"/>
                <a:ext cx="4320000" cy="3600000"/>
              </a:xfrm>
              <a:blipFill>
                <a:blip r:embed="rId2"/>
                <a:stretch>
                  <a:fillRect l="-22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Grafik 10">
            <a:extLst>
              <a:ext uri="{FF2B5EF4-FFF2-40B4-BE49-F238E27FC236}">
                <a16:creationId xmlns:a16="http://schemas.microsoft.com/office/drawing/2014/main" id="{AEA38D41-4D7C-0181-C860-649B3F7771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6606" y="850046"/>
            <a:ext cx="3323885" cy="3443408"/>
          </a:xfrm>
          <a:prstGeom prst="rect">
            <a:avLst/>
          </a:prstGeom>
        </p:spPr>
      </p:pic>
      <p:sp>
        <p:nvSpPr>
          <p:cNvPr id="5" name="Textplatzhalter 8">
            <a:extLst>
              <a:ext uri="{FF2B5EF4-FFF2-40B4-BE49-F238E27FC236}">
                <a16:creationId xmlns:a16="http://schemas.microsoft.com/office/drawing/2014/main" id="{ACA1CB8D-D12D-E437-D3CB-D73CD4517791}"/>
              </a:ext>
            </a:extLst>
          </p:cNvPr>
          <p:cNvSpPr txBox="1">
            <a:spLocks/>
          </p:cNvSpPr>
          <p:nvPr/>
        </p:nvSpPr>
        <p:spPr bwMode="gray">
          <a:xfrm>
            <a:off x="4678548" y="4290119"/>
            <a:ext cx="4320000" cy="359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/>
              <a:t>Verwendung des Bode-Diagramms zur Stabilitätsanalyse [6]</a:t>
            </a:r>
          </a:p>
        </p:txBody>
      </p:sp>
    </p:spTree>
    <p:extLst>
      <p:ext uri="{BB962C8B-B14F-4D97-AF65-F5344CB8AC3E}">
        <p14:creationId xmlns:p14="http://schemas.microsoft.com/office/powerpoint/2010/main" val="1992447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F849D5-911C-884A-0226-4DA9AAEE9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A4707A-5D1B-F026-E6D5-3E66FF19E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19D93-0394-1573-F5E1-70ECA9F75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C8B138-C201-2239-2EAC-8AB7A5B0D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err="1">
                <a:ea typeface="+mj-lt"/>
                <a:cs typeface="+mj-lt"/>
              </a:rPr>
              <a:t>Oversampling</a:t>
            </a:r>
            <a:r>
              <a:rPr lang="de-DE" sz="2000">
                <a:ea typeface="+mj-lt"/>
                <a:cs typeface="+mj-lt"/>
              </a:rPr>
              <a:t> </a:t>
            </a:r>
            <a:endParaRPr lang="de-DE" sz="2000">
              <a:ea typeface="Calibri"/>
              <a:cs typeface="Calibri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2541ECF4-BCB3-289E-C579-25CAC66AF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B14FBFB-50E3-F792-24AD-573D16774A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648" y="2893365"/>
            <a:ext cx="3661016" cy="131822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8D3AE86-808D-0D16-540C-0152441854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7432" y="2891748"/>
            <a:ext cx="4508561" cy="1321460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8B3BABE-7DE7-4DD2-4E57-3C33C3133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5648" y="931909"/>
            <a:ext cx="8568804" cy="1846191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Quantization noise behaves in the frequency domain like white noise, with a constant power spectral density.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In a Nyquist ADC, all the quantization noise power remains within the signal band.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If an oversampled signal is quantized, only a fraction of the total quantization noise power lies withing the signal band.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Using an OSR of 4 is equivalent to having one extra bit in the N-bit quantizer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BB78EEA-C92C-51BB-1F8A-D77617A98029}"/>
              </a:ext>
            </a:extLst>
          </p:cNvPr>
          <p:cNvSpPr txBox="1">
            <a:spLocks/>
          </p:cNvSpPr>
          <p:nvPr/>
        </p:nvSpPr>
        <p:spPr bwMode="gray">
          <a:xfrm>
            <a:off x="1807179" y="4263209"/>
            <a:ext cx="912273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i="1">
                <a:ea typeface="Calibri"/>
                <a:cs typeface="Calibri"/>
              </a:rPr>
              <a:t>Nyquist ADC</a:t>
            </a:r>
            <a:endParaRPr lang="de-DE" i="1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92B966C-9EE5-969E-407D-DE8DB071E7F1}"/>
              </a:ext>
            </a:extLst>
          </p:cNvPr>
          <p:cNvSpPr txBox="1">
            <a:spLocks/>
          </p:cNvSpPr>
          <p:nvPr/>
        </p:nvSpPr>
        <p:spPr bwMode="gray">
          <a:xfrm>
            <a:off x="5682152" y="4262890"/>
            <a:ext cx="1374187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i="1">
                <a:ea typeface="Calibri"/>
                <a:cs typeface="Calibri"/>
              </a:rPr>
              <a:t>Oversampled ADC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341418028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AFA8A-185C-4495-8CE8-6AEAD9AC1992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0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tabilitätsanalyse – Frequenzgangkorrektu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DA2BE39-EBFC-EDEB-C7EC-4C379AFBDA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329" y="948964"/>
            <a:ext cx="6681778" cy="3426333"/>
          </a:xfrm>
          <a:prstGeom prst="rect">
            <a:avLst/>
          </a:prstGeom>
        </p:spPr>
      </p:pic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0D6FCBE6-B52D-B6DA-147C-9986C208E17C}"/>
              </a:ext>
            </a:extLst>
          </p:cNvPr>
          <p:cNvSpPr txBox="1">
            <a:spLocks/>
          </p:cNvSpPr>
          <p:nvPr/>
        </p:nvSpPr>
        <p:spPr bwMode="gray">
          <a:xfrm>
            <a:off x="3173979" y="4336686"/>
            <a:ext cx="2793692" cy="359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/>
              <a:t>Universelle Frequenzgangkorrektur [6]</a:t>
            </a:r>
          </a:p>
        </p:txBody>
      </p:sp>
    </p:spTree>
    <p:extLst>
      <p:ext uri="{BB962C8B-B14F-4D97-AF65-F5344CB8AC3E}">
        <p14:creationId xmlns:p14="http://schemas.microsoft.com/office/powerpoint/2010/main" val="364809937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4FEE8B-AA45-15CF-3052-9C4207BE9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SFET – Grundla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66B580B-AD9D-D027-E62B-82C91CB6C5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7DA40-A0EB-4237-8B2D-171816BA0640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5EF7D-A963-723D-A8EC-51CDFD33F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418768-197B-3FB1-8081-5D783A579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1</a:t>
            </a:fld>
            <a:endParaRPr lang="de-DE"/>
          </a:p>
        </p:txBody>
      </p:sp>
      <p:pic>
        <p:nvPicPr>
          <p:cNvPr id="8" name="Grafik 7" descr="Ein Bild, das Screenshot, Text, Grafiken, Diagramm enthält.&#10;&#10;Automatisch generierte Beschreibung">
            <a:extLst>
              <a:ext uri="{FF2B5EF4-FFF2-40B4-BE49-F238E27FC236}">
                <a16:creationId xmlns:a16="http://schemas.microsoft.com/office/drawing/2014/main" id="{C9A0D4D8-C404-4E3C-DE32-54B7469D32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2349" y="862888"/>
            <a:ext cx="2788011" cy="2169966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31B1CBC4-5FED-AB09-C1FB-7FF98503468B}"/>
              </a:ext>
            </a:extLst>
          </p:cNvPr>
          <p:cNvSpPr txBox="1">
            <a:spLocks/>
          </p:cNvSpPr>
          <p:nvPr/>
        </p:nvSpPr>
        <p:spPr bwMode="gray">
          <a:xfrm>
            <a:off x="250825" y="3294904"/>
            <a:ext cx="8640000" cy="9658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In an NMOS, current flows from drain to source when a positive voltage is applied to the g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In a PMOS, current flows from source to drain when a negative voltage is applied to the gate</a:t>
            </a: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</p:txBody>
      </p:sp>
      <p:pic>
        <p:nvPicPr>
          <p:cNvPr id="7" name="Picture 6" descr="A diagram of a circuit&#10;&#10;Description automatically generated">
            <a:extLst>
              <a:ext uri="{FF2B5EF4-FFF2-40B4-BE49-F238E27FC236}">
                <a16:creationId xmlns:a16="http://schemas.microsoft.com/office/drawing/2014/main" id="{73AB9CA6-1F20-FA7C-95D3-0799F8221F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5829"/>
          <a:stretch/>
        </p:blipFill>
        <p:spPr>
          <a:xfrm>
            <a:off x="1439236" y="902651"/>
            <a:ext cx="2030899" cy="213020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FFDA782-0A89-A0C0-5EDB-195A469AC035}"/>
              </a:ext>
            </a:extLst>
          </p:cNvPr>
          <p:cNvSpPr txBox="1"/>
          <p:nvPr/>
        </p:nvSpPr>
        <p:spPr>
          <a:xfrm>
            <a:off x="5569388" y="3019697"/>
            <a:ext cx="25139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>
                <a:solidFill>
                  <a:schemeClr val="bg2"/>
                </a:solidFill>
              </a:rPr>
              <a:t>N-channel MOSFET [1]</a:t>
            </a:r>
          </a:p>
        </p:txBody>
      </p:sp>
      <p:sp>
        <p:nvSpPr>
          <p:cNvPr id="9" name="Textfeld 5">
            <a:extLst>
              <a:ext uri="{FF2B5EF4-FFF2-40B4-BE49-F238E27FC236}">
                <a16:creationId xmlns:a16="http://schemas.microsoft.com/office/drawing/2014/main" id="{02B2D9C6-0A17-F38A-A5DD-36AA6CE7C7AE}"/>
              </a:ext>
            </a:extLst>
          </p:cNvPr>
          <p:cNvSpPr txBox="1"/>
          <p:nvPr/>
        </p:nvSpPr>
        <p:spPr>
          <a:xfrm>
            <a:off x="1197720" y="3032854"/>
            <a:ext cx="25139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>
                <a:solidFill>
                  <a:schemeClr val="bg2"/>
                </a:solidFill>
              </a:rPr>
              <a:t>Circuit Symbol MOSFET [2]</a:t>
            </a:r>
          </a:p>
        </p:txBody>
      </p:sp>
    </p:spTree>
    <p:extLst>
      <p:ext uri="{BB962C8B-B14F-4D97-AF65-F5344CB8AC3E}">
        <p14:creationId xmlns:p14="http://schemas.microsoft.com/office/powerpoint/2010/main" val="35530444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EBA662-2C53-4500-BE97-C7F75EFB91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DCE17-BC85-348C-4920-7C44A8D9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44A625-B981-EA33-85A6-8F0870B73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2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FE46880-0DC7-E404-79E6-5BB20DAD9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SFET</a:t>
            </a:r>
            <a:r>
              <a:rPr lang="en-DE"/>
              <a:t> –</a:t>
            </a:r>
            <a:r>
              <a:rPr lang="de-DE"/>
              <a:t> Kleinsignalmodell</a:t>
            </a:r>
            <a:endParaRPr lang="en-D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50C86AC-BF9F-4E59-F24D-E9D9B8466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59" y="2586859"/>
            <a:ext cx="2777023" cy="1509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2BD920A-D92A-9213-5C01-74DC5A649A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4784" y="2526177"/>
            <a:ext cx="3040348" cy="156972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 Placeholder 5">
                <a:extLst>
                  <a:ext uri="{FF2B5EF4-FFF2-40B4-BE49-F238E27FC236}">
                    <a16:creationId xmlns:a16="http://schemas.microsoft.com/office/drawing/2014/main" id="{3A90B9A5-CBC7-275A-340C-DCA5DB942D90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2000" y="1047600"/>
                <a:ext cx="8640000" cy="3600000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/>
                  <a:t>Representation of a MOSFET at low voltages in the linearized reg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/>
                  <a:t>Open circuit between gate and source </a:t>
                </a:r>
                <a:r>
                  <a:rPr lang="de-DE"/>
                  <a:t>–&gt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𝐺</m:t>
                        </m:r>
                      </m:sub>
                    </m:sSub>
                  </m:oMath>
                </a14:m>
                <a:r>
                  <a:rPr lang="de-DE"/>
                  <a:t> = 0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err="1"/>
                  <a:t>Current</a:t>
                </a:r>
                <a:r>
                  <a:rPr lang="de-DE"/>
                  <a:t> source </a:t>
                </a:r>
                <a:r>
                  <a:rPr lang="de-DE" err="1"/>
                  <a:t>represents</a:t>
                </a:r>
                <a:r>
                  <a:rPr lang="de-DE"/>
                  <a:t> </a:t>
                </a:r>
                <a:r>
                  <a:rPr lang="de-DE" err="1"/>
                  <a:t>the</a:t>
                </a:r>
                <a:r>
                  <a:rPr lang="de-DE"/>
                  <a:t> drain </a:t>
                </a:r>
                <a:r>
                  <a:rPr lang="de-DE" err="1"/>
                  <a:t>current</a:t>
                </a:r>
                <a:r>
                  <a:rPr lang="de-DE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sub>
                    </m:sSub>
                  </m:oMath>
                </a14:m>
                <a:endParaRPr lang="de-DE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de-DE"/>
                  <a:t> the </a:t>
                </a:r>
                <a:r>
                  <a:rPr lang="en-US"/>
                  <a:t>transconductance is determined by drawing a tangent to the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sub>
                    </m:sSub>
                  </m:oMath>
                </a14:m>
                <a:r>
                  <a:rPr lang="de-DE"/>
                  <a:t> vs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𝐺𝑆</m:t>
                        </m:r>
                      </m:sub>
                    </m:sSub>
                  </m:oMath>
                </a14:m>
                <a:r>
                  <a:rPr lang="de-DE"/>
                  <a:t> </a:t>
                </a:r>
                <a:r>
                  <a:rPr lang="de-DE" err="1"/>
                  <a:t>relationship</a:t>
                </a:r>
                <a:r>
                  <a:rPr lang="de-DE"/>
                  <a:t> </a:t>
                </a:r>
                <a:br>
                  <a:rPr lang="de-DE"/>
                </a:br>
                <a:endParaRPr lang="de-DE"/>
              </a:p>
            </p:txBody>
          </p:sp>
        </mc:Choice>
        <mc:Fallback xmlns="">
          <p:sp>
            <p:nvSpPr>
              <p:cNvPr id="11" name="Text Placeholder 5">
                <a:extLst>
                  <a:ext uri="{FF2B5EF4-FFF2-40B4-BE49-F238E27FC236}">
                    <a16:creationId xmlns:a16="http://schemas.microsoft.com/office/drawing/2014/main" id="{3A90B9A5-CBC7-275A-340C-DCA5DB942D9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2000" y="1047600"/>
                <a:ext cx="8640000" cy="3600000"/>
              </a:xfrm>
              <a:blipFill>
                <a:blip r:embed="rId4"/>
                <a:stretch>
                  <a:fillRect l="-1128" t="-152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5467810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90720E-5400-366D-CE6C-E1F198B9CF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3A23C8-6AC1-5371-5D24-1C95669F1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SFET – </a:t>
            </a:r>
            <a:r>
              <a:rPr lang="de-DE" err="1"/>
              <a:t>Structure_ATAkan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0F7FAA-1C9D-CD7F-5D36-DB67AF390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7DA40-A0EB-4237-8B2D-171816BA0640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2C2FA9-111B-03AC-CB4F-C50014565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FB89A9-9283-617D-1605-BBDB70314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3</a:t>
            </a:fld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14BE8B29-AC95-5F7A-A389-039E61F726A3}"/>
              </a:ext>
            </a:extLst>
          </p:cNvPr>
          <p:cNvSpPr txBox="1">
            <a:spLocks/>
          </p:cNvSpPr>
          <p:nvPr/>
        </p:nvSpPr>
        <p:spPr bwMode="gray">
          <a:xfrm>
            <a:off x="380365" y="995194"/>
            <a:ext cx="8640000" cy="9658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In an NMOS, current flows from drain to source when a positive voltage is applied to the g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In a PMOS, current flows from source to drain when a negative voltage is applied to the gate</a:t>
            </a: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374451511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AFA8A-185C-4495-8CE8-6AEAD9AC1992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</a:t>
            </a:r>
            <a:r>
              <a:rPr lang="de-DE" err="1"/>
              <a:t>Agfirat</a:t>
            </a:r>
            <a:r>
              <a:rPr lang="de-DE"/>
              <a:t>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4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tabilitätsanalyse – Ersatzschaltbild einer dreistufigen Verstärkerschaltung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5388727-3E0A-FA9A-1F61-C9E6BD5518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456" y="3159101"/>
            <a:ext cx="7195087" cy="12478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platzhalter 8">
                <a:extLst>
                  <a:ext uri="{FF2B5EF4-FFF2-40B4-BE49-F238E27FC236}">
                    <a16:creationId xmlns:a16="http://schemas.microsoft.com/office/drawing/2014/main" id="{00363B2E-0DE2-5FDF-701C-52780530DC64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50824" y="929231"/>
                <a:ext cx="8578621" cy="1982219"/>
              </a:xfrm>
            </p:spPr>
            <p:txBody>
              <a:bodyPr/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b="0">
                    <a:ea typeface="Cambria Math" panose="02040503050406030204" pitchFamily="18" charset="0"/>
                  </a:rPr>
                  <a:t>Einzelne Verstärkerstufe:</a:t>
                </a:r>
                <a:endParaRPr lang="de-DE"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</m:t>
                              </m:r>
                            </m:sub>
                          </m:sSub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+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𝐶</m:t>
                          </m:r>
                        </m:den>
                      </m:f>
                    </m:oMath>
                  </m:oMathPara>
                </a14:m>
                <a:endParaRPr lang="de-DE">
                  <a:ea typeface="Cambria Math" panose="02040503050406030204" pitchFamily="18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>
                    <a:ea typeface="Cambria Math" panose="02040503050406030204" pitchFamily="18" charset="0"/>
                  </a:rPr>
                  <a:t>Bei der Reihenschaltung von mehreren Verstärkerstufen ergibt sich: </a:t>
                </a: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⋅</m:t>
                              </m:r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⋅</m:t>
                              </m:r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d>
                            <m:d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⋅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⋅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e>
                          </m:d>
                        </m:den>
                      </m:f>
                    </m:oMath>
                  </m:oMathPara>
                </a14:m>
                <a:endParaRPr lang="de-DE" b="0"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Textplatzhalter 8">
                <a:extLst>
                  <a:ext uri="{FF2B5EF4-FFF2-40B4-BE49-F238E27FC236}">
                    <a16:creationId xmlns:a16="http://schemas.microsoft.com/office/drawing/2014/main" id="{00363B2E-0DE2-5FDF-701C-52780530DC6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50824" y="929231"/>
                <a:ext cx="8578621" cy="1982219"/>
              </a:xfrm>
              <a:blipFill>
                <a:blip r:embed="rId3"/>
                <a:stretch>
                  <a:fillRect l="-11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993747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CBC151-EFE1-A840-FE6D-E65061CCB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4B5BE9-C0EC-0458-DCC8-2CB72A5A7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5D908-7721-E31D-6E1A-E6119717C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102A11-BA78-187B-DAAF-1B783E03C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5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7A53997-5578-79F8-743B-D1AC2316B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pectrum_erdem</a:t>
            </a:r>
            <a:endParaRPr lang="en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5345D3-048A-C82D-47B2-2EB44DFCA4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825" y="881728"/>
            <a:ext cx="4362214" cy="381419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974BED7-0F58-18F0-AF34-DD06447FB3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0916" y="881728"/>
            <a:ext cx="3969909" cy="181204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BE2B7DD-B37C-603D-1215-7E85A66509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2782" y="2693777"/>
            <a:ext cx="2847293" cy="190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39913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59A667-EABE-E976-9FF7-FB79FC56B7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A4CCCE-2C2C-CFB2-60CB-50887CF839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9DAE08-B9F8-BAD1-C1D8-21883410B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8DB5B-8B37-FF18-716F-518CDBC2D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6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CBAFDB8-AA61-7158-98F8-587FE2270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Quantization_erdem</a:t>
            </a:r>
            <a:endParaRPr lang="en-DE" err="1"/>
          </a:p>
        </p:txBody>
      </p:sp>
      <p:pic>
        <p:nvPicPr>
          <p:cNvPr id="14" name="Picture 13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BFDD65D4-3060-9A4A-90D3-85692B26C1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0825" y="737405"/>
            <a:ext cx="4238804" cy="354209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F1A088C-61A3-F5A1-AD42-A9C25D5B3A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300" y="2652452"/>
            <a:ext cx="3035300" cy="18054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84AF40-D657-3760-6CAC-E276F3E281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846" y="844157"/>
            <a:ext cx="3235586" cy="1896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02148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37DC0-1994-5543-ACBB-87BB715C9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E5F209-D0B9-AF52-FBF6-19C6A36D7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642A28-0EEE-3E04-33BA-0E380D1CF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A47BE6-E308-6C28-295E-0D44B2041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7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2EAB57-F493-33CB-3771-4FCCC85F2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DC</a:t>
            </a:r>
            <a:endParaRPr lang="en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39D5917-B422-F2C6-8EC3-70525F4828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6325" y="987574"/>
            <a:ext cx="6570113" cy="16213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91686CD-D4C7-7663-E0D3-0D10A16E7AB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57373"/>
          <a:stretch/>
        </p:blipFill>
        <p:spPr>
          <a:xfrm>
            <a:off x="1453075" y="2885900"/>
            <a:ext cx="5816611" cy="145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6470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E4028-4578-8797-5218-8ABA4FE1BF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11AD71-431C-BB3E-0ACA-13C40042F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F67BCB-3788-9224-7E5B-1EF56BDF5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23FFB-26B2-99EB-689D-8E9D03979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8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2B2488-DE35-FE12-1DC6-AF082EF88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ADC_Erdem</a:t>
            </a:r>
            <a:endParaRPr lang="en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827A88-3A90-C277-69FD-CF4ADC0B26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4945" y="887743"/>
            <a:ext cx="5883755" cy="3368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38994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E10C3F-AEFD-31DC-D0AF-F6913B4E53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ED2F05-2ED0-8D70-C9A8-0E5EC1FD6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EFD076-E182-CF3D-6D22-8CECF6E4B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2D3E1F-E3CA-4117-00DF-56C292F3F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59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678E0F0-23BF-AA3C-457E-D1B3C692E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1800" b="0" strike="noStrike" spc="-1">
                <a:solidFill>
                  <a:schemeClr val="lt2"/>
                </a:solidFill>
                <a:latin typeface="Calibri"/>
                <a:ea typeface="Microsoft YaHei"/>
              </a:rPr>
              <a:t>Simulink Schaltung und Ergebnisse (</a:t>
            </a:r>
            <a:r>
              <a:rPr lang="de-DE" sz="1800" b="0" strike="noStrike" spc="-1" err="1">
                <a:solidFill>
                  <a:schemeClr val="lt2"/>
                </a:solidFill>
                <a:latin typeface="Calibri"/>
                <a:ea typeface="Microsoft YaHei"/>
              </a:rPr>
              <a:t>simulink</a:t>
            </a:r>
            <a:r>
              <a:rPr lang="de-DE" sz="1800" b="0" strike="noStrike" spc="-1">
                <a:solidFill>
                  <a:schemeClr val="lt2"/>
                </a:solidFill>
                <a:latin typeface="Calibri"/>
                <a:ea typeface="Microsoft YaHei"/>
              </a:rPr>
              <a:t>)</a:t>
            </a:r>
            <a:r>
              <a:rPr lang="de-DE" sz="900" b="0" strike="noStrike" spc="-1">
                <a:solidFill>
                  <a:schemeClr val="lt2"/>
                </a:solidFill>
                <a:latin typeface="Calibri"/>
              </a:rPr>
              <a:t>Erdem</a:t>
            </a:r>
            <a:endParaRPr 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980F56-1E37-AB00-A1DC-DC9A3CA670E0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1751305" y="1790910"/>
            <a:ext cx="5639040" cy="1561680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31131532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620285-E976-D0D1-CB84-AB1343224D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9CBDDC-9CD4-B85E-5838-421B7BFD7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9B4BCF-E0C3-DB3C-AEC3-F3809E2A1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D4028AF-1B9E-C988-D107-BD9961E55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>
                <a:ea typeface="+mj-lt"/>
                <a:cs typeface="+mj-lt"/>
              </a:rPr>
              <a:t>Noise Shaping and Digital/</a:t>
            </a:r>
            <a:r>
              <a:rPr lang="de-DE" sz="2000" err="1">
                <a:ea typeface="+mj-lt"/>
                <a:cs typeface="+mj-lt"/>
              </a:rPr>
              <a:t>Decimation</a:t>
            </a:r>
            <a:r>
              <a:rPr lang="de-DE" sz="2000">
                <a:ea typeface="+mj-lt"/>
                <a:cs typeface="+mj-lt"/>
              </a:rPr>
              <a:t> Filter</a:t>
            </a:r>
            <a:endParaRPr lang="de-DE" sz="200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81024357-D88E-53ED-994D-987915732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 Placeholder 5">
                <a:extLst>
                  <a:ext uri="{FF2B5EF4-FFF2-40B4-BE49-F238E27FC236}">
                    <a16:creationId xmlns:a16="http://schemas.microsoft.com/office/drawing/2014/main" id="{89D3357C-2A35-70FA-C947-5B6F7EA19837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45648" y="931910"/>
                <a:ext cx="8568804" cy="1418906"/>
              </a:xfrm>
            </p:spPr>
            <p:txBody>
              <a:bodyPr/>
              <a:lstStyle/>
              <a:p>
                <a:pPr marL="285750" indent="-285750">
                  <a:buChar char="•"/>
                </a:pPr>
                <a:r>
                  <a:rPr lang="en-US" sz="1600"/>
                  <a:t>Shift the majority of the noise power outside the signal band, reducing in-band noise.</a:t>
                </a:r>
              </a:p>
              <a:p>
                <a:pPr marL="285750" indent="-285750">
                  <a:buChar char="•"/>
                </a:pPr>
                <a:r>
                  <a:rPr lang="en-US" sz="1600"/>
                  <a:t>The digital/decimation filter attenuates high-frequency noise and reduces the output data rate</a:t>
                </a:r>
                <a:r>
                  <a:rPr lang="en-GB" sz="1600">
                    <a:ea typeface="+mj-lt"/>
                    <a:cs typeface="+mj-lt"/>
                  </a:rPr>
                  <a:t>.</a:t>
                </a:r>
              </a:p>
              <a:p>
                <a:pPr marL="285750" indent="-285750">
                  <a:buChar char="•"/>
                </a:pPr>
                <a:r>
                  <a:rPr lang="en-US" sz="1600"/>
                  <a:t>Key parameters in this system include the modulator’s sampling rat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GB" sz="1600">
                    <a:ea typeface="+mj-lt"/>
                    <a:cs typeface="+mj-lt"/>
                  </a:rPr>
                  <a:t> and the digital/decimation filter’s output-data rat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𝐷</m:t>
                        </m:r>
                      </m:sub>
                    </m:sSub>
                  </m:oMath>
                </a14:m>
                <a:r>
                  <a:rPr lang="en-GB" sz="1600">
                    <a:ea typeface="+mj-lt"/>
                    <a:cs typeface="+mj-lt"/>
                  </a:rPr>
                  <a:t>. </a:t>
                </a:r>
              </a:p>
              <a:p>
                <a:pPr marL="285750" indent="-285750">
                  <a:buChar char="•"/>
                </a:pPr>
                <a:r>
                  <a:rPr lang="en-GB" sz="1600">
                    <a:ea typeface="+mj-lt"/>
                    <a:cs typeface="+mj-lt"/>
                  </a:rPr>
                  <a:t>The ratio of these two variables is knows as the decimation ratio (DR), defined as </a:t>
                </a: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  <a:ea typeface="+mj-lt"/>
                        <a:cs typeface="+mj-lt"/>
                      </a:rPr>
                      <m:t>𝐷𝑅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+mj-lt"/>
                        <a:cs typeface="+mj-lt"/>
                      </a:rPr>
                      <m:t>=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𝑠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+mj-lt"/>
                        <a:cs typeface="+mj-lt"/>
                      </a:rPr>
                      <m:t>/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𝑓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+mj-lt"/>
                            <a:cs typeface="+mj-lt"/>
                          </a:rPr>
                          <m:t>𝐷</m:t>
                        </m:r>
                      </m:sub>
                    </m:sSub>
                  </m:oMath>
                </a14:m>
                <a:r>
                  <a:rPr lang="en-GB" sz="1600">
                    <a:ea typeface="+mj-lt"/>
                    <a:cs typeface="+mj-lt"/>
                  </a:rPr>
                  <a:t>.</a:t>
                </a:r>
              </a:p>
            </p:txBody>
          </p:sp>
        </mc:Choice>
        <mc:Fallback xmlns="">
          <p:sp>
            <p:nvSpPr>
              <p:cNvPr id="7" name="Text Placeholder 5">
                <a:extLst>
                  <a:ext uri="{FF2B5EF4-FFF2-40B4-BE49-F238E27FC236}">
                    <a16:creationId xmlns:a16="http://schemas.microsoft.com/office/drawing/2014/main" id="{89D3357C-2A35-70FA-C947-5B6F7EA1983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45648" y="931910"/>
                <a:ext cx="8568804" cy="1418906"/>
              </a:xfrm>
              <a:blipFill>
                <a:blip r:embed="rId2"/>
                <a:stretch>
                  <a:fillRect l="-1351" t="-47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Grafik 11" descr="Ein Bild, das Diagramm, Text, Reihe enthält.&#10;&#10;KI-generierte Inhalte können fehlerhaft sein.">
            <a:extLst>
              <a:ext uri="{FF2B5EF4-FFF2-40B4-BE49-F238E27FC236}">
                <a16:creationId xmlns:a16="http://schemas.microsoft.com/office/drawing/2014/main" id="{02C73651-AB71-B468-EF6A-9988486C15E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69" b="15441"/>
          <a:stretch/>
        </p:blipFill>
        <p:spPr>
          <a:xfrm>
            <a:off x="2232995" y="2480282"/>
            <a:ext cx="4678010" cy="1822592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C158EE3-DEBD-91C1-0268-60524E69E52D}"/>
              </a:ext>
            </a:extLst>
          </p:cNvPr>
          <p:cNvSpPr txBox="1">
            <a:spLocks/>
          </p:cNvSpPr>
          <p:nvPr/>
        </p:nvSpPr>
        <p:spPr bwMode="gray">
          <a:xfrm>
            <a:off x="2850373" y="4386697"/>
            <a:ext cx="4678010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i="1">
                <a:ea typeface="Calibri"/>
                <a:cs typeface="Calibri"/>
              </a:rPr>
              <a:t>High DR decreases noise and low DR increase noise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289040544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7A5FB-0639-8479-5273-A685860D99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8632DA-58F4-8342-05BE-59330AD6C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3AD99-654D-45D3-8058-1E79AA2E7FD7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0EC239-D96D-05DB-B130-56C23D7F5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75E59D-D2E7-BF4A-81FA-D24559333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0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DD505D-0236-D701-ED90-0BACAD9E4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ADC_Erdem</a:t>
            </a:r>
            <a:endParaRPr lang="en-DE"/>
          </a:p>
        </p:txBody>
      </p:sp>
      <p:pic>
        <p:nvPicPr>
          <p:cNvPr id="7" name="Picture 11">
            <a:extLst>
              <a:ext uri="{FF2B5EF4-FFF2-40B4-BE49-F238E27FC236}">
                <a16:creationId xmlns:a16="http://schemas.microsoft.com/office/drawing/2014/main" id="{F3E807C5-2290-E096-38F3-8C8C7A36442D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450360" y="987120"/>
            <a:ext cx="6569640" cy="1621080"/>
          </a:xfrm>
          <a:prstGeom prst="rect">
            <a:avLst/>
          </a:prstGeom>
          <a:ln w="0"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A15520-CDD1-3E19-5197-B7C8623B3D56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4680000" y="2559240"/>
            <a:ext cx="3776400" cy="1400760"/>
          </a:xfrm>
          <a:prstGeom prst="rect">
            <a:avLst/>
          </a:prstGeom>
          <a:ln w="0"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1815287-8496-E06F-E4A7-324E5F754268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1219200" y="3067592"/>
            <a:ext cx="1571499" cy="1241009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54636763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07D0B7-A3A3-8696-6125-7A5D7F993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E5C2118-8FE3-E260-4015-22F0C764F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EMS, Mustafa Alkaya, Erdem Agfirat, Atakan Baydogan, Agah Osman Celebi ©HS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D7A471-47D5-B12A-34B2-082455D6B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1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AE39D26-173A-4ECB-ACF7-6E9B6DD36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>
                <a:ea typeface="Calibri"/>
                <a:cs typeface="Calibri"/>
              </a:rPr>
              <a:t>Capacit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ormulas</a:t>
            </a:r>
            <a:endParaRPr lang="de-DE" err="1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045682B-080A-639C-F70A-6589220D3D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 descr="Ein Bild, das Text, Screenshot, Schrift, Zahl enthält.&#10;&#10;KI-generierte Inhalte können fehlerhaft sein.">
            <a:extLst>
              <a:ext uri="{FF2B5EF4-FFF2-40B4-BE49-F238E27FC236}">
                <a16:creationId xmlns:a16="http://schemas.microsoft.com/office/drawing/2014/main" id="{6BD27D7F-F77D-5743-9345-0CBB0E852E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942" y="1410004"/>
            <a:ext cx="4572000" cy="232996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E013E0E-8580-56E1-99DE-69292A4B3CB6}"/>
              </a:ext>
            </a:extLst>
          </p:cNvPr>
          <p:cNvSpPr txBox="1"/>
          <p:nvPr/>
        </p:nvSpPr>
        <p:spPr>
          <a:xfrm>
            <a:off x="1057275" y="4000499"/>
            <a:ext cx="2951389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 algn="l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>
                <a:solidFill>
                  <a:schemeClr val="bg2"/>
                </a:solidFill>
                <a:ea typeface="+mn-lt"/>
                <a:cs typeface="+mn-lt"/>
              </a:rPr>
              <a:t>https://electricalacademia.com/basic-electrical/inductor-capacitor-basics/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pic>
        <p:nvPicPr>
          <p:cNvPr id="9" name="Grafik 8" descr="Ein Bild, das Text, Schrift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732AD2A2-A640-1FE7-363E-5DD552BCD9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1011" y="1413404"/>
            <a:ext cx="3992336" cy="183091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EE1AF33-2DEF-D138-814E-FC9D85CC9AB3}"/>
              </a:ext>
            </a:extLst>
          </p:cNvPr>
          <p:cNvSpPr txBox="1"/>
          <p:nvPr/>
        </p:nvSpPr>
        <p:spPr>
          <a:xfrm>
            <a:off x="5215630" y="979043"/>
            <a:ext cx="2951389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 algn="l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>
                <a:solidFill>
                  <a:schemeClr val="bg2"/>
                </a:solidFill>
                <a:ea typeface="+mn-lt"/>
                <a:cs typeface="+mn-lt"/>
              </a:rPr>
              <a:t>https://www.electronics-tutorials.ws/opamp/opamp_6.html</a:t>
            </a:r>
            <a:endParaRPr lang="de-DE" sz="1400" err="1">
              <a:solidFill>
                <a:schemeClr val="bg2"/>
              </a:solidFill>
              <a:ea typeface="Calibri"/>
              <a:cs typeface="Calibri"/>
            </a:endParaRPr>
          </a:p>
        </p:txBody>
      </p:sp>
      <p:pic>
        <p:nvPicPr>
          <p:cNvPr id="10" name="Grafik 9" descr="Ein Bild, das Text, Screenshot, Schrift, weiß enthält.&#10;&#10;KI-generierte Inhalte können fehlerhaft sein.">
            <a:extLst>
              <a:ext uri="{FF2B5EF4-FFF2-40B4-BE49-F238E27FC236}">
                <a16:creationId xmlns:a16="http://schemas.microsoft.com/office/drawing/2014/main" id="{231AF0A0-E51E-BC23-2537-EAA3D458C6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8292" y="3235953"/>
            <a:ext cx="2973794" cy="1535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03383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ADB1093-4E1D-20FE-76C0-1C9740FF8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0B7A01-52C2-2BCA-E20C-39A0ECBC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4E8A28-E91A-B6E6-96FC-1930F42AF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2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B27A61E-2799-60E9-7A20-120CC3944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ea typeface="Calibri"/>
                <a:cs typeface="Calibri"/>
              </a:rPr>
              <a:t>PCB Design - </a:t>
            </a:r>
            <a:r>
              <a:rPr lang="de-DE" err="1">
                <a:ea typeface="Calibri"/>
                <a:cs typeface="Calibri"/>
              </a:rPr>
              <a:t>Alti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A872EC3-5564-CE68-DDB4-E6F3937553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Design </a:t>
            </a:r>
            <a:r>
              <a:rPr lang="de-DE" err="1">
                <a:ea typeface="Calibri"/>
                <a:cs typeface="Calibri"/>
              </a:rPr>
              <a:t>of</a:t>
            </a:r>
            <a:r>
              <a:rPr lang="de-DE">
                <a:ea typeface="Calibri"/>
                <a:cs typeface="Calibri"/>
              </a:rPr>
              <a:t> a </a:t>
            </a:r>
            <a:r>
              <a:rPr lang="de-DE" err="1">
                <a:ea typeface="Calibri"/>
                <a:cs typeface="Calibri"/>
              </a:rPr>
              <a:t>Schematic</a:t>
            </a:r>
            <a:r>
              <a:rPr lang="de-DE">
                <a:ea typeface="Calibri"/>
                <a:cs typeface="Calibri"/>
              </a:rPr>
              <a:t> and PCB </a:t>
            </a:r>
            <a:r>
              <a:rPr lang="de-DE" err="1">
                <a:ea typeface="Calibri"/>
                <a:cs typeface="Calibri"/>
              </a:rPr>
              <a:t>to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unctio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s</a:t>
            </a:r>
            <a:r>
              <a:rPr lang="de-DE">
                <a:ea typeface="Calibri"/>
                <a:cs typeface="Calibri"/>
              </a:rPr>
              <a:t> a </a:t>
            </a:r>
            <a:r>
              <a:rPr lang="de-DE" err="1">
                <a:ea typeface="Calibri"/>
                <a:cs typeface="Calibri"/>
              </a:rPr>
              <a:t>Eval</a:t>
            </a:r>
            <a:r>
              <a:rPr lang="de-DE">
                <a:ea typeface="Calibri"/>
                <a:cs typeface="Calibri"/>
              </a:rPr>
              <a:t>-board and </a:t>
            </a:r>
            <a:r>
              <a:rPr lang="de-DE" err="1">
                <a:ea typeface="Calibri"/>
                <a:cs typeface="Calibri"/>
              </a:rPr>
              <a:t>Testb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the</a:t>
            </a:r>
            <a:r>
              <a:rPr lang="de-DE">
                <a:ea typeface="Calibri"/>
                <a:cs typeface="Calibri"/>
              </a:rPr>
              <a:t> ADCs</a:t>
            </a:r>
          </a:p>
          <a:p>
            <a:pPr marL="285750" indent="-285750">
              <a:buChar char="•"/>
            </a:pPr>
            <a:r>
              <a:rPr lang="de-DE" err="1">
                <a:ea typeface="Calibri"/>
                <a:cs typeface="Calibri"/>
              </a:rPr>
              <a:t>Prefere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ver</a:t>
            </a:r>
            <a:r>
              <a:rPr lang="de-DE">
                <a:ea typeface="Calibri"/>
                <a:cs typeface="Calibri"/>
              </a:rPr>
              <a:t> a </a:t>
            </a:r>
            <a:r>
              <a:rPr lang="de-DE" err="1">
                <a:ea typeface="Calibri"/>
                <a:cs typeface="Calibri"/>
              </a:rPr>
              <a:t>Breadboar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perfboard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caus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f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lowe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tra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inductances</a:t>
            </a:r>
            <a:r>
              <a:rPr lang="de-DE">
                <a:ea typeface="Calibri"/>
                <a:cs typeface="Calibri"/>
              </a:rPr>
              <a:t> and </a:t>
            </a:r>
            <a:r>
              <a:rPr lang="de-DE" err="1">
                <a:ea typeface="Calibri"/>
                <a:cs typeface="Calibri"/>
              </a:rPr>
              <a:t>better</a:t>
            </a:r>
            <a:r>
              <a:rPr lang="de-DE">
                <a:ea typeface="Calibri"/>
                <a:cs typeface="Calibri"/>
              </a:rPr>
              <a:t> Signal/Power Integrity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Simple </a:t>
            </a:r>
            <a:r>
              <a:rPr lang="de-DE" err="1">
                <a:ea typeface="Calibri"/>
                <a:cs typeface="Calibri"/>
              </a:rPr>
              <a:t>Schematic</a:t>
            </a:r>
            <a:r>
              <a:rPr lang="de-DE">
                <a:ea typeface="Calibri"/>
                <a:cs typeface="Calibri"/>
              </a:rPr>
              <a:t> Design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ocus</a:t>
            </a:r>
            <a:r>
              <a:rPr lang="de-DE">
                <a:ea typeface="Calibri"/>
                <a:cs typeface="Calibri"/>
              </a:rPr>
              <a:t> on </a:t>
            </a:r>
            <a:r>
              <a:rPr lang="de-DE" err="1">
                <a:ea typeface="Calibri"/>
                <a:cs typeface="Calibri"/>
              </a:rPr>
              <a:t>basic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functionality</a:t>
            </a:r>
            <a:endParaRPr lang="de-DE">
              <a:ea typeface="Calibri"/>
              <a:cs typeface="Calibri"/>
            </a:endParaRP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PCB Design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all</a:t>
            </a:r>
            <a:r>
              <a:rPr lang="de-DE">
                <a:ea typeface="Calibri"/>
                <a:cs typeface="Calibri"/>
              </a:rPr>
              <a:t> in </a:t>
            </a:r>
            <a:r>
              <a:rPr lang="de-DE" err="1">
                <a:ea typeface="Calibri"/>
                <a:cs typeface="Calibri"/>
              </a:rPr>
              <a:t>one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solution</a:t>
            </a:r>
            <a:r>
              <a:rPr lang="de-DE">
                <a:ea typeface="Calibri"/>
                <a:cs typeface="Calibri"/>
              </a:rPr>
              <a:t> – </a:t>
            </a:r>
            <a:r>
              <a:rPr lang="de-DE" err="1">
                <a:ea typeface="Calibri"/>
                <a:cs typeface="Calibri"/>
              </a:rPr>
              <a:t>no</a:t>
            </a:r>
            <a:r>
              <a:rPr lang="de-DE">
                <a:ea typeface="Calibri"/>
                <a:cs typeface="Calibri"/>
              </a:rPr>
              <a:t> additional </a:t>
            </a:r>
            <a:r>
              <a:rPr lang="de-DE" err="1">
                <a:ea typeface="Calibri"/>
                <a:cs typeface="Calibri"/>
              </a:rPr>
              <a:t>adapters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r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uC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required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After IC design – </a:t>
            </a:r>
            <a:r>
              <a:rPr lang="de-DE" err="1">
                <a:ea typeface="Calibri"/>
                <a:cs typeface="Calibri"/>
              </a:rPr>
              <a:t>swap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f</a:t>
            </a:r>
            <a:r>
              <a:rPr lang="de-DE">
                <a:ea typeface="Calibri"/>
                <a:cs typeface="Calibri"/>
              </a:rPr>
              <a:t> ADS1115 </a:t>
            </a:r>
            <a:r>
              <a:rPr lang="de-DE" err="1">
                <a:ea typeface="Calibri"/>
                <a:cs typeface="Calibri"/>
              </a:rPr>
              <a:t>with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ur</a:t>
            </a:r>
            <a:r>
              <a:rPr lang="de-DE">
                <a:ea typeface="Calibri"/>
                <a:cs typeface="Calibri"/>
              </a:rPr>
              <a:t> ASIC possible</a:t>
            </a:r>
          </a:p>
          <a:p>
            <a:pPr marL="285750" indent="-285750">
              <a:buChar char="•"/>
            </a:pPr>
            <a:r>
              <a:rPr lang="de-DE">
                <a:ea typeface="Calibri"/>
                <a:cs typeface="Calibri"/>
              </a:rPr>
              <a:t>Goal:</a:t>
            </a:r>
          </a:p>
          <a:p>
            <a:pPr marL="466725" lvl="1" indent="-285750">
              <a:buFont typeface="Courier New" panose="020B0604020202020204" pitchFamily="34" charset="0"/>
              <a:buChar char="o"/>
            </a:pPr>
            <a:r>
              <a:rPr lang="de-DE" err="1">
                <a:ea typeface="Calibri"/>
                <a:cs typeface="Calibri"/>
              </a:rPr>
              <a:t>Ideally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direct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compariso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between</a:t>
            </a:r>
            <a:r>
              <a:rPr lang="de-DE">
                <a:ea typeface="Calibri"/>
                <a:cs typeface="Calibri"/>
              </a:rPr>
              <a:t> </a:t>
            </a:r>
            <a:r>
              <a:rPr lang="de-DE" err="1">
                <a:ea typeface="Calibri"/>
                <a:cs typeface="Calibri"/>
              </a:rPr>
              <a:t>our</a:t>
            </a:r>
            <a:r>
              <a:rPr lang="de-DE">
                <a:ea typeface="Calibri"/>
                <a:cs typeface="Calibri"/>
              </a:rPr>
              <a:t> ADC and COTS Part ADS1115</a:t>
            </a:r>
          </a:p>
        </p:txBody>
      </p:sp>
    </p:spTree>
    <p:extLst>
      <p:ext uri="{BB962C8B-B14F-4D97-AF65-F5344CB8AC3E}">
        <p14:creationId xmlns:p14="http://schemas.microsoft.com/office/powerpoint/2010/main" val="237878759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7ACBAC-A274-5DDA-F85D-ABC5D5B6ED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29F814B-1601-B3A6-F710-3274390D6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IC Level – OTA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8DB5C4D-5FF5-9086-B9EA-FC843C1285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55A7D04-C915-4509-8FDA-7639D4B35554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2A8EA0D-6F8F-1895-7D67-26E548377D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9C346F-EE09-4F74-ECB0-2C8041666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63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706F750-5394-5C9B-0CCB-5A1F8D0119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407373" cy="3592115"/>
          </a:xfrm>
        </p:spPr>
        <p:txBody>
          <a:bodyPr anchor="t">
            <a:normAutofit/>
          </a:bodyPr>
          <a:lstStyle/>
          <a:p>
            <a:pPr marL="285750" indent="-285750">
              <a:buChar char="•"/>
            </a:pPr>
            <a:r>
              <a:rPr lang="en-US">
                <a:ea typeface="Calibri"/>
                <a:cs typeface="Calibri"/>
              </a:rPr>
              <a:t>OTA is a combination of the differential pair with current mirr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Current output can be "converted" to a voltage by adding a resistor as a load to the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Known </a:t>
            </a:r>
            <a:r>
              <a:rPr lang="en-US" err="1">
                <a:ea typeface="Calibri"/>
                <a:cs typeface="Calibri"/>
              </a:rPr>
              <a:t>OpAmp</a:t>
            </a:r>
            <a:r>
              <a:rPr lang="en-US">
                <a:ea typeface="Calibri"/>
                <a:cs typeface="Calibri"/>
              </a:rPr>
              <a:t> circuits like the voltage follower, integrator, summing amplifier and comparator can be </a:t>
            </a:r>
            <a:r>
              <a:rPr lang="en-US" err="1">
                <a:ea typeface="Calibri"/>
                <a:cs typeface="Calibri"/>
              </a:rPr>
              <a:t>build</a:t>
            </a:r>
            <a:r>
              <a:rPr lang="en-US">
                <a:ea typeface="Calibri"/>
                <a:cs typeface="Calibri"/>
              </a:rPr>
              <a:t> with the O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OTA subcircuit components (the FETs) are being sized with the help of </a:t>
            </a:r>
            <a:r>
              <a:rPr lang="en-US" err="1">
                <a:ea typeface="Calibri"/>
                <a:cs typeface="Calibri"/>
              </a:rPr>
              <a:t>Jupyter</a:t>
            </a:r>
            <a:r>
              <a:rPr lang="en-US">
                <a:ea typeface="Calibri"/>
                <a:cs typeface="Calibri"/>
              </a:rPr>
              <a:t> Notebooks which contain all the necessary parameters and siz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These tools provided by Prof. </a:t>
            </a:r>
            <a:r>
              <a:rPr lang="en-US" err="1">
                <a:ea typeface="Calibri"/>
                <a:cs typeface="Calibri"/>
              </a:rPr>
              <a:t>Pretl</a:t>
            </a:r>
            <a:r>
              <a:rPr lang="en-US">
                <a:ea typeface="Calibri"/>
                <a:cs typeface="Calibri"/>
              </a:rPr>
              <a:t> simplify the sizing of our </a:t>
            </a:r>
            <a:r>
              <a:rPr lang="en-US" err="1">
                <a:ea typeface="Calibri"/>
                <a:cs typeface="Calibri"/>
              </a:rPr>
              <a:t>xschem</a:t>
            </a:r>
            <a:r>
              <a:rPr lang="en-US">
                <a:ea typeface="Calibri"/>
                <a:cs typeface="Calibri"/>
              </a:rPr>
              <a:t> circu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Calibri"/>
                <a:cs typeface="Calibri"/>
              </a:rPr>
              <a:t>The following </a:t>
            </a:r>
            <a:r>
              <a:rPr lang="en-US" err="1">
                <a:ea typeface="Calibri"/>
                <a:cs typeface="Calibri"/>
              </a:rPr>
              <a:t>xschem</a:t>
            </a:r>
            <a:r>
              <a:rPr lang="en-US">
                <a:ea typeface="Calibri"/>
                <a:cs typeface="Calibri"/>
              </a:rPr>
              <a:t> schematic shows our DS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ea typeface="Calibri"/>
              <a:cs typeface="Calibri"/>
            </a:endParaRPr>
          </a:p>
        </p:txBody>
      </p:sp>
      <p:pic>
        <p:nvPicPr>
          <p:cNvPr id="8" name="Grafik 7" descr="Ein Bild, das Diagramm, Plan, technische Zeichnung, Reihe enthält.&#10;&#10;KI-generierte Inhalte können fehlerhaft sein.">
            <a:extLst>
              <a:ext uri="{FF2B5EF4-FFF2-40B4-BE49-F238E27FC236}">
                <a16:creationId xmlns:a16="http://schemas.microsoft.com/office/drawing/2014/main" id="{1B91A5C7-89AF-396A-0A80-2ACD14CA6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2890" y="1289602"/>
            <a:ext cx="3725581" cy="2558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75366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8711D-ACF7-C05F-5F0F-633E83683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ea typeface="Calibri"/>
                <a:cs typeface="Calibri"/>
              </a:rPr>
              <a:t>References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0C9FD-8A33-69C0-4BD3-70FBCD1DF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3BF6-9878-466B-9207-8B4272B1B4EF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1F1523-23BE-63C8-334E-078C7D884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CEMS, Mustafa </a:t>
            </a:r>
            <a:r>
              <a:rPr lang="de-DE" err="1">
                <a:ea typeface="+mn-lt"/>
                <a:cs typeface="+mn-lt"/>
              </a:rPr>
              <a:t>Alkaya</a:t>
            </a:r>
            <a:r>
              <a:rPr lang="de-DE">
                <a:ea typeface="+mn-lt"/>
                <a:cs typeface="+mn-lt"/>
              </a:rPr>
              <a:t>, Erdem </a:t>
            </a:r>
            <a:r>
              <a:rPr lang="de-DE" err="1">
                <a:ea typeface="+mn-lt"/>
                <a:cs typeface="+mn-lt"/>
              </a:rPr>
              <a:t>Agfirat</a:t>
            </a:r>
            <a:r>
              <a:rPr lang="de-DE">
                <a:ea typeface="+mn-lt"/>
                <a:cs typeface="+mn-lt"/>
              </a:rPr>
              <a:t>, Atakan </a:t>
            </a:r>
            <a:r>
              <a:rPr lang="de-DE" err="1">
                <a:ea typeface="+mn-lt"/>
                <a:cs typeface="+mn-lt"/>
              </a:rPr>
              <a:t>Baydogan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Agah</a:t>
            </a:r>
            <a:r>
              <a:rPr lang="de-DE">
                <a:ea typeface="+mn-lt"/>
                <a:cs typeface="+mn-lt"/>
              </a:rPr>
              <a:t> Osman Celebi ©HSB 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CE1165-5888-E663-A07C-90A51ED46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4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7B507A-39D3-D946-13C8-B1955B0F56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992038"/>
            <a:ext cx="8569737" cy="3647677"/>
          </a:xfrm>
        </p:spPr>
        <p:txBody>
          <a:bodyPr/>
          <a:lstStyle/>
          <a:p>
            <a:endParaRPr lang="en-GB" sz="1200">
              <a:latin typeface="Times New Roman"/>
              <a:cs typeface="Times New Roman"/>
            </a:endParaRPr>
          </a:p>
          <a:p>
            <a:endParaRPr lang="en-GB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202868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321803-00B3-4A3B-070D-3F4E68FD6D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916CAB-2EFB-2587-97E9-735B6EAAB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D52FA9-A3C0-EAD0-D14B-F6AC60B9E8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3B3447-39D8-A060-B3D9-6BF624547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>
                <a:ea typeface="+mj-lt"/>
                <a:cs typeface="+mj-lt"/>
              </a:rPr>
              <a:t>Block </a:t>
            </a:r>
            <a:r>
              <a:rPr lang="de-DE" sz="2000" err="1">
                <a:ea typeface="+mj-lt"/>
                <a:cs typeface="+mj-lt"/>
              </a:rPr>
              <a:t>Diagram</a:t>
            </a:r>
            <a:r>
              <a:rPr lang="de-DE" sz="2000">
                <a:ea typeface="+mj-lt"/>
                <a:cs typeface="+mj-lt"/>
              </a:rPr>
              <a:t> </a:t>
            </a:r>
            <a:r>
              <a:rPr lang="de-DE" sz="2000" err="1">
                <a:ea typeface="+mj-lt"/>
                <a:cs typeface="+mj-lt"/>
              </a:rPr>
              <a:t>of</a:t>
            </a:r>
            <a:r>
              <a:rPr lang="de-DE" sz="2000">
                <a:ea typeface="+mj-lt"/>
                <a:cs typeface="+mj-lt"/>
              </a:rPr>
              <a:t> </a:t>
            </a:r>
            <a:r>
              <a:rPr lang="de-DE" sz="2000" err="1">
                <a:ea typeface="+mj-lt"/>
                <a:cs typeface="+mj-lt"/>
              </a:rPr>
              <a:t>the</a:t>
            </a:r>
            <a:r>
              <a:rPr lang="de-DE" sz="2000">
                <a:ea typeface="+mj-lt"/>
                <a:cs typeface="+mj-lt"/>
              </a:rPr>
              <a:t> Delta-Sigma Modulator</a:t>
            </a:r>
            <a:endParaRPr lang="de-DE" sz="200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ABEF7ACD-DD8B-41D2-64BD-D2EB1E1C4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3" name="Grafik 2" descr="Ein Bild, das Diagramm, Reihe, Schrift, technische Zeichnung enthält.&#10;&#10;KI-generierte Inhalte können fehlerhaft sein.">
            <a:extLst>
              <a:ext uri="{FF2B5EF4-FFF2-40B4-BE49-F238E27FC236}">
                <a16:creationId xmlns:a16="http://schemas.microsoft.com/office/drawing/2014/main" id="{D0D03B9A-76CF-7437-16D8-0F96C84DB8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9665" y="2571750"/>
            <a:ext cx="4902320" cy="144312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 Placeholder 5">
                <a:extLst>
                  <a:ext uri="{FF2B5EF4-FFF2-40B4-BE49-F238E27FC236}">
                    <a16:creationId xmlns:a16="http://schemas.microsoft.com/office/drawing/2014/main" id="{A8CA8389-94DD-F83C-A4DB-3FCFDEA1D5E9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245648" y="931910"/>
                <a:ext cx="8568804" cy="1418906"/>
              </a:xfrm>
            </p:spPr>
            <p:txBody>
              <a:bodyPr/>
              <a:lstStyle/>
              <a:p>
                <a:pPr marL="285750" indent="-285750">
                  <a:buChar char="•"/>
                </a:pPr>
                <a:r>
                  <a:rPr lang="en-GB" sz="1600">
                    <a:ea typeface="+mj-lt"/>
                    <a:cs typeface="+mj-lt"/>
                  </a:rPr>
                  <a:t>The basic scheme of a Delta-Sigma modulator consists of a loop filter H(z) and a B-Bit quantizer in a feedback loop.</a:t>
                </a:r>
              </a:p>
              <a:p>
                <a:pPr marL="285750" indent="-285750">
                  <a:buChar char="•"/>
                </a:pPr>
                <a:r>
                  <a:rPr lang="en-GB" sz="1600">
                    <a:ea typeface="Calibri"/>
                    <a:cs typeface="Calibri"/>
                  </a:rPr>
                  <a:t>The Delta-Sigma modulator can be described in the Z-domain as: </a:t>
                </a:r>
              </a:p>
              <a:p>
                <a:pPr/>
                <a:br>
                  <a:rPr lang="en-GB" sz="1600">
                    <a:ea typeface="Calibri"/>
                    <a:cs typeface="Calibri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𝑌</m:t>
                      </m:r>
                      <m:d>
                        <m:d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d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𝑧</m:t>
                          </m:r>
                        </m:e>
                      </m:d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=</m:t>
                      </m:r>
                      <m:sSup>
                        <m:sSup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sSup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𝑧</m:t>
                          </m:r>
                        </m:e>
                        <m:sup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−1</m:t>
                          </m:r>
                        </m:sup>
                      </m:sSup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𝑋</m:t>
                      </m:r>
                      <m:d>
                        <m:d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d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𝑧</m:t>
                          </m:r>
                        </m:e>
                      </m:d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+</m:t>
                      </m:r>
                      <m:d>
                        <m:d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d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1−</m:t>
                          </m:r>
                          <m:sSup>
                            <m:sSupPr>
                              <m:ctrlPr>
                                <a:rPr lang="de-DE" sz="1600" b="0" i="1" dirty="0" smtClean="0">
                                  <a:latin typeface="Cambria Math" panose="02040503050406030204" pitchFamily="18" charset="0"/>
                                  <a:ea typeface="Calibri"/>
                                  <a:cs typeface="Calibri"/>
                                </a:rPr>
                              </m:ctrlPr>
                            </m:sSupPr>
                            <m:e>
                              <m:r>
                                <a:rPr lang="de-DE" sz="1600" b="0" i="1" dirty="0" smtClean="0">
                                  <a:latin typeface="Cambria Math" panose="02040503050406030204" pitchFamily="18" charset="0"/>
                                  <a:ea typeface="Calibri"/>
                                  <a:cs typeface="Calibri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de-DE" sz="1600" b="0" i="1" dirty="0" smtClean="0">
                                  <a:latin typeface="Cambria Math" panose="02040503050406030204" pitchFamily="18" charset="0"/>
                                  <a:ea typeface="Calibri"/>
                                  <a:cs typeface="Calibri"/>
                                </a:rPr>
                                <m:t>−1</m:t>
                              </m:r>
                            </m:sup>
                          </m:sSup>
                        </m:e>
                      </m:d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𝐸</m:t>
                      </m:r>
                      <m:d>
                        <m:dPr>
                          <m:ctrlP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</m:ctrlPr>
                        </m:dPr>
                        <m:e>
                          <m:r>
                            <a:rPr lang="de-DE" sz="1600" b="0" i="1" dirty="0" smtClean="0">
                              <a:latin typeface="Cambria Math" panose="02040503050406030204" pitchFamily="18" charset="0"/>
                              <a:ea typeface="Calibri"/>
                              <a:cs typeface="Calibri"/>
                            </a:rPr>
                            <m:t>𝑧</m:t>
                          </m:r>
                        </m:e>
                      </m:d>
                      <m:r>
                        <a:rPr lang="de-DE" sz="1600" b="0" i="1" dirty="0" smtClean="0">
                          <a:latin typeface="Cambria Math" panose="02040503050406030204" pitchFamily="18" charset="0"/>
                          <a:ea typeface="Calibri"/>
                          <a:cs typeface="Calibri"/>
                        </a:rPr>
                        <m:t>.</m:t>
                      </m:r>
                    </m:oMath>
                  </m:oMathPara>
                </a14:m>
                <a:endParaRPr lang="de-DE" sz="1600" b="0">
                  <a:ea typeface="Calibri"/>
                  <a:cs typeface="Calibri"/>
                </a:endParaRPr>
              </a:p>
            </p:txBody>
          </p:sp>
        </mc:Choice>
        <mc:Fallback xmlns="">
          <p:sp>
            <p:nvSpPr>
              <p:cNvPr id="8" name="Text Placeholder 5">
                <a:extLst>
                  <a:ext uri="{FF2B5EF4-FFF2-40B4-BE49-F238E27FC236}">
                    <a16:creationId xmlns:a16="http://schemas.microsoft.com/office/drawing/2014/main" id="{A8CA8389-94DD-F83C-A4DB-3FCFDEA1D5E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245648" y="931910"/>
                <a:ext cx="8568804" cy="1418906"/>
              </a:xfrm>
              <a:blipFill>
                <a:blip r:embed="rId3"/>
                <a:stretch>
                  <a:fillRect l="-1351" t="-4721" r="-49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4E1B9C0-ACD2-88CF-D588-E78FECD5E8BB}"/>
              </a:ext>
            </a:extLst>
          </p:cNvPr>
          <p:cNvSpPr txBox="1">
            <a:spLocks/>
          </p:cNvSpPr>
          <p:nvPr/>
        </p:nvSpPr>
        <p:spPr bwMode="gray">
          <a:xfrm>
            <a:off x="3832881" y="4087075"/>
            <a:ext cx="4678010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i="1">
                <a:ea typeface="Calibri"/>
                <a:cs typeface="Calibri"/>
              </a:rPr>
              <a:t>Delta-Sigma Modulator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22783556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5205-7ABC-B544-11B2-69162A40A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85C7D4-FF67-4B7B-07D8-5655FCAC14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A7D04-C915-4509-8FDA-7639D4B35554}" type="datetime1">
              <a:rPr lang="de-DE" smtClean="0"/>
              <a:t>21.02.20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321315-BB9D-F609-BA26-F844D82FD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6B2BC5-DCCF-7A57-EA09-75A5F36DE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>
                <a:ea typeface="+mj-lt"/>
                <a:cs typeface="+mj-lt"/>
              </a:rPr>
              <a:t>Higher Order Delta-Sigma Modulator</a:t>
            </a:r>
            <a:endParaRPr lang="de-DE" sz="200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8A388C0-9CA9-B1F3-9331-2CD56286E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/>
          <a:lstStyle/>
          <a:p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pic>
        <p:nvPicPr>
          <p:cNvPr id="7" name="Grafik 6" descr="Ein Bild, das Text, Diagramm, Reihe, Screenshot enthält.&#10;&#10;KI-generierte Inhalte können fehlerhaft sein.">
            <a:extLst>
              <a:ext uri="{FF2B5EF4-FFF2-40B4-BE49-F238E27FC236}">
                <a16:creationId xmlns:a16="http://schemas.microsoft.com/office/drawing/2014/main" id="{64CC3305-24BB-B17C-A12D-1931C0B641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8997" y="2498311"/>
            <a:ext cx="2623655" cy="1795591"/>
          </a:xfrm>
          <a:prstGeom prst="rect">
            <a:avLst/>
          </a:prstGeom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91BE84D9-2DD0-B6B0-650A-C56270B745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849598"/>
            <a:ext cx="8568804" cy="1722152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Using a circuit that integrates twice instead of just once is a great way to lower the modulator’s in-band quantization noise. 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Some of the disadvantages of the second- or multi order modulators include increased complexity, multiple loops, and increased design difficulty.</a:t>
            </a:r>
          </a:p>
          <a:p>
            <a:pPr marL="285750" indent="-285750">
              <a:buChar char="•"/>
            </a:pPr>
            <a:r>
              <a:rPr lang="en-GB" sz="1600">
                <a:ea typeface="+mj-lt"/>
                <a:cs typeface="+mj-lt"/>
              </a:rPr>
              <a:t>Multi-order modulators shape the quantization noise to even higher frequencies than lower-order modulators.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B479E79-1DAC-8762-C1D5-37017EAA48E0}"/>
              </a:ext>
            </a:extLst>
          </p:cNvPr>
          <p:cNvSpPr txBox="1">
            <a:spLocks/>
          </p:cNvSpPr>
          <p:nvPr/>
        </p:nvSpPr>
        <p:spPr bwMode="gray">
          <a:xfrm>
            <a:off x="3543647" y="4293902"/>
            <a:ext cx="4678010" cy="2974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i="1" err="1"/>
              <a:t>Comparison</a:t>
            </a:r>
            <a:r>
              <a:rPr lang="de-DE" i="1"/>
              <a:t> </a:t>
            </a:r>
            <a:r>
              <a:rPr lang="de-DE" i="1" err="1"/>
              <a:t>of</a:t>
            </a:r>
            <a:r>
              <a:rPr lang="de-DE" i="1"/>
              <a:t> </a:t>
            </a:r>
            <a:r>
              <a:rPr lang="de-DE" i="1" err="1"/>
              <a:t>noise</a:t>
            </a:r>
            <a:r>
              <a:rPr lang="de-DE" i="1"/>
              <a:t> </a:t>
            </a:r>
            <a:r>
              <a:rPr lang="de-DE" i="1" err="1"/>
              <a:t>shaping</a:t>
            </a:r>
            <a:endParaRPr lang="de-DE" i="1"/>
          </a:p>
        </p:txBody>
      </p:sp>
    </p:spTree>
    <p:extLst>
      <p:ext uri="{BB962C8B-B14F-4D97-AF65-F5344CB8AC3E}">
        <p14:creationId xmlns:p14="http://schemas.microsoft.com/office/powerpoint/2010/main" val="26083325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70D88-D018-B4C7-438B-8184AF142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4456D1-6DF7-52CD-3B2A-2019F17EF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447574"/>
            <a:ext cx="8640000" cy="540000"/>
          </a:xfrm>
        </p:spPr>
        <p:txBody>
          <a:bodyPr anchor="t">
            <a:normAutofit/>
          </a:bodyPr>
          <a:lstStyle/>
          <a:p>
            <a:r>
              <a:rPr lang="en-US"/>
              <a:t>Active RC</a:t>
            </a:r>
            <a:endParaRPr lang="en-D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053C18-CC61-AFEF-6871-087C923608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28383" y="4767994"/>
            <a:ext cx="765448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7A03AD99-654D-45D3-8058-1E79AA2E7FD7}" type="datetime1">
              <a:rPr lang="de-DE" smtClean="0"/>
              <a:pPr>
                <a:spcAft>
                  <a:spcPts val="600"/>
                </a:spcAft>
              </a:pPr>
              <a:t>21.02.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40F6D0-A3E3-BF96-D358-B4550B6D1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825" y="4767994"/>
            <a:ext cx="6805514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CEMS, Mustafa </a:t>
            </a:r>
            <a:r>
              <a:rPr lang="de-DE" err="1"/>
              <a:t>Alkaya</a:t>
            </a:r>
            <a:r>
              <a:rPr lang="de-DE"/>
              <a:t>, Erdem Agfirat, Atakan </a:t>
            </a:r>
            <a:r>
              <a:rPr lang="de-DE" err="1"/>
              <a:t>Baydogan</a:t>
            </a:r>
            <a:r>
              <a:rPr lang="de-DE"/>
              <a:t>, </a:t>
            </a:r>
            <a:r>
              <a:rPr lang="de-DE" err="1"/>
              <a:t>Agah</a:t>
            </a:r>
            <a:r>
              <a:rPr lang="de-DE"/>
              <a:t> Osman Celebi ©HS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8BD018-5481-617D-C5D1-21E146F6C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0491" y="4767994"/>
            <a:ext cx="391989" cy="14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8444F55-0981-4E9E-8F6B-2F7546EE58D7}" type="slidenum">
              <a:rPr lang="de-DE" smtClean="0"/>
              <a:pPr>
                <a:spcAft>
                  <a:spcPts val="600"/>
                </a:spcAft>
              </a:pPr>
              <a:t>9</a:t>
            </a:fld>
            <a:endParaRPr lang="de-DE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35AC7C1-92E0-E0E4-B759-FC8E9A5387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1798358"/>
            <a:ext cx="4212050" cy="208352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Straightforward design using classical R–C relationship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ypical implementation of low-pass, high-pass, Integrator, or other topologies</a:t>
            </a:r>
            <a:endParaRPr lang="en-GB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arge resistors require significant chip are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Often chosen for simpler off-chip or hybrid sol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8AF678-B473-1D7C-FD88-CAC0C0558E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0825" y="1605407"/>
            <a:ext cx="4495800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237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SB_PPT-Master_neu_16zu9_Blau-Tuerkisblau" id="{88BC7CCA-02C0-D14D-9C71-B0603D709C40}" vid="{9E93C404-44FE-2F45-8046-4015A9571142}"/>
    </a:ext>
  </a:extLst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16zu9_Blau-Tuerkisblau</Template>
  <TotalTime>0</TotalTime>
  <Words>4587</Words>
  <Application>Microsoft Office PowerPoint</Application>
  <PresentationFormat>On-screen Show (16:9)</PresentationFormat>
  <Paragraphs>598</Paragraphs>
  <Slides>6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4</vt:i4>
      </vt:variant>
    </vt:vector>
  </HeadingPairs>
  <TitlesOfParts>
    <vt:vector size="74" baseType="lpstr">
      <vt:lpstr>Aptos</vt:lpstr>
      <vt:lpstr>Arial</vt:lpstr>
      <vt:lpstr>Calibri</vt:lpstr>
      <vt:lpstr>Cambria Math</vt:lpstr>
      <vt:lpstr>Courier New</vt:lpstr>
      <vt:lpstr>Symbol</vt:lpstr>
      <vt:lpstr>Times New Roman</vt:lpstr>
      <vt:lpstr>Wingdings</vt:lpstr>
      <vt:lpstr>HSB_16zu9_Blau-Türkisblau</vt:lpstr>
      <vt:lpstr>think-cell Folie</vt:lpstr>
      <vt:lpstr>Concept Engineering Mixed-Technology Systems (CEMS)</vt:lpstr>
      <vt:lpstr>PowerPoint Presentation</vt:lpstr>
      <vt:lpstr>System Overview</vt:lpstr>
      <vt:lpstr>Oversampling</vt:lpstr>
      <vt:lpstr>Oversampling </vt:lpstr>
      <vt:lpstr>Noise Shaping and Digital/Decimation Filter</vt:lpstr>
      <vt:lpstr>Block Diagram of the Delta-Sigma Modulator</vt:lpstr>
      <vt:lpstr>Higher Order Delta-Sigma Modulator</vt:lpstr>
      <vt:lpstr>Active RC</vt:lpstr>
      <vt:lpstr>Switch Capacitor</vt:lpstr>
      <vt:lpstr>5 Transistor OTA (Operational Transconductance Amplifier)</vt:lpstr>
      <vt:lpstr>Op-amp vs. OTA (ideal case)</vt:lpstr>
      <vt:lpstr>Circuit Simulation by LTspice      </vt:lpstr>
      <vt:lpstr>Circuit Simulation by LTspice     </vt:lpstr>
      <vt:lpstr>ASIC Design with IIC-Tools / xschem</vt:lpstr>
      <vt:lpstr>IC Level - Components</vt:lpstr>
      <vt:lpstr>IC Level – Components - MOSFET</vt:lpstr>
      <vt:lpstr>IC Level – Components - MOSFET</vt:lpstr>
      <vt:lpstr>IC Level – Components - MOSFET</vt:lpstr>
      <vt:lpstr>IC Level – Subcircuits – MOSFET as Diode</vt:lpstr>
      <vt:lpstr>IC Level – Subcircuits – Current Mirror</vt:lpstr>
      <vt:lpstr>IC Level – Subcircuits – Common Source Amplifier and Differential Pair</vt:lpstr>
      <vt:lpstr>IC Level – xschem and ngspice</vt:lpstr>
      <vt:lpstr>IC Level – xschem and ngspice</vt:lpstr>
      <vt:lpstr>IC Level – xschem and ngspice</vt:lpstr>
      <vt:lpstr>IC Level – xschem and ngspice</vt:lpstr>
      <vt:lpstr>IC Level – xschem and ngspice</vt:lpstr>
      <vt:lpstr>Semiconductor/ASIC Outloook</vt:lpstr>
      <vt:lpstr>Implementation Hardware - Schematic</vt:lpstr>
      <vt:lpstr>Implementation Hardware - Schematic</vt:lpstr>
      <vt:lpstr>Implementation Hardware - Schematic</vt:lpstr>
      <vt:lpstr>Implementation Hardware - PCB</vt:lpstr>
      <vt:lpstr>Implementation Hardware - PCB</vt:lpstr>
      <vt:lpstr>Implementation Hardware - PCB</vt:lpstr>
      <vt:lpstr>Implementation Hardware – PCB – Voltage Drop</vt:lpstr>
      <vt:lpstr>Implementation Hardware – PCB – Current Density</vt:lpstr>
      <vt:lpstr>Implementation Testbed</vt:lpstr>
      <vt:lpstr>Implementation Arduino</vt:lpstr>
      <vt:lpstr>Implementation Arduino</vt:lpstr>
      <vt:lpstr>ADS1115</vt:lpstr>
      <vt:lpstr>ADXL335</vt:lpstr>
      <vt:lpstr>Cost calculation</vt:lpstr>
      <vt:lpstr>Our Catalog</vt:lpstr>
      <vt:lpstr>References</vt:lpstr>
      <vt:lpstr>PowerPoint Presentation</vt:lpstr>
      <vt:lpstr>Spectral Analysis MATLAB/SIMULINK</vt:lpstr>
      <vt:lpstr>Rückkopplung als Regelkreis</vt:lpstr>
      <vt:lpstr>Velocity and Acceleration – Data Source / Analog</vt:lpstr>
      <vt:lpstr>Stabilitätsanalyse</vt:lpstr>
      <vt:lpstr>Stabilitätsanalyse – Frequenzgangkorrektur</vt:lpstr>
      <vt:lpstr>MOSFET – Grundlagen</vt:lpstr>
      <vt:lpstr>MOSFET – Kleinsignalmodell</vt:lpstr>
      <vt:lpstr>MOSFET – Structure_ATAkan</vt:lpstr>
      <vt:lpstr>Stabilitätsanalyse – Ersatzschaltbild einer dreistufigen Verstärkerschaltung </vt:lpstr>
      <vt:lpstr>Spectrum_erdem</vt:lpstr>
      <vt:lpstr>Quantization_erdem</vt:lpstr>
      <vt:lpstr>ADC</vt:lpstr>
      <vt:lpstr>ADC_Erdem</vt:lpstr>
      <vt:lpstr>Simulink Schaltung und Ergebnisse (simulink)Erdem</vt:lpstr>
      <vt:lpstr>ADC_Erdem</vt:lpstr>
      <vt:lpstr>Capacitor Formulas</vt:lpstr>
      <vt:lpstr>PCB Design - Altium</vt:lpstr>
      <vt:lpstr>IC Level – OTA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oge Schaltungen Experiment 1: xx</dc:title>
  <dc:subject>Thema der Präsentation</dc:subject>
  <dc:creator>Erdem Agfirat</dc:creator>
  <dc:description>Optimiert für die PowerPoint-Version 2010</dc:description>
  <cp:lastModifiedBy>Agfirat, Erdem</cp:lastModifiedBy>
  <cp:revision>2</cp:revision>
  <dcterms:created xsi:type="dcterms:W3CDTF">2023-06-17T13:51:33Z</dcterms:created>
  <dcterms:modified xsi:type="dcterms:W3CDTF">2025-02-21T20:36:46Z</dcterms:modified>
  <cp:category>Vorlage</cp:category>
</cp:coreProperties>
</file>